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29"/>
  </p:notesMasterIdLst>
  <p:sldIdLst>
    <p:sldId id="256" r:id="rId4"/>
    <p:sldId id="264" r:id="rId5"/>
    <p:sldId id="275" r:id="rId6"/>
    <p:sldId id="277" r:id="rId7"/>
    <p:sldId id="276" r:id="rId8"/>
    <p:sldId id="278" r:id="rId9"/>
    <p:sldId id="279" r:id="rId10"/>
    <p:sldId id="280" r:id="rId11"/>
    <p:sldId id="707" r:id="rId12"/>
    <p:sldId id="706" r:id="rId13"/>
    <p:sldId id="418" r:id="rId14"/>
    <p:sldId id="414" r:id="rId15"/>
    <p:sldId id="424" r:id="rId16"/>
    <p:sldId id="421" r:id="rId17"/>
    <p:sldId id="425" r:id="rId18"/>
    <p:sldId id="417" r:id="rId19"/>
    <p:sldId id="426" r:id="rId20"/>
    <p:sldId id="419" r:id="rId21"/>
    <p:sldId id="427" r:id="rId22"/>
    <p:sldId id="709" r:id="rId23"/>
    <p:sldId id="281" r:id="rId24"/>
    <p:sldId id="282" r:id="rId25"/>
    <p:sldId id="710" r:id="rId26"/>
    <p:sldId id="260" r:id="rId27"/>
    <p:sldId id="259" r:id="rId2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10D2CA0E-6D31-4A0B-AE6F-4B9FFBB694F8}">
          <p14:sldIdLst>
            <p14:sldId id="256"/>
            <p14:sldId id="264"/>
            <p14:sldId id="275"/>
            <p14:sldId id="277"/>
            <p14:sldId id="276"/>
            <p14:sldId id="278"/>
            <p14:sldId id="279"/>
            <p14:sldId id="280"/>
            <p14:sldId id="707"/>
            <p14:sldId id="706"/>
            <p14:sldId id="418"/>
            <p14:sldId id="414"/>
            <p14:sldId id="424"/>
            <p14:sldId id="421"/>
            <p14:sldId id="425"/>
            <p14:sldId id="417"/>
            <p14:sldId id="426"/>
            <p14:sldId id="419"/>
            <p14:sldId id="427"/>
            <p14:sldId id="709"/>
            <p14:sldId id="281"/>
            <p14:sldId id="282"/>
            <p14:sldId id="710"/>
            <p14:sldId id="260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405"/>
  </p:normalViewPr>
  <p:slideViewPr>
    <p:cSldViewPr snapToGrid="0">
      <p:cViewPr varScale="1">
        <p:scale>
          <a:sx n="115" d="100"/>
          <a:sy n="115" d="100"/>
        </p:scale>
        <p:origin x="39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83C9F-DF2F-41B0-8889-824B0FE33015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5F2E7-CAD6-4D2E-973C-6FAD184691C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1770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ls het beter gaat met de ouder, gaat het beter met het kind = te simpel gedacht. Want klachten van het kind ook van invloed op de ouder. Wederkerig proces. </a:t>
            </a:r>
          </a:p>
          <a:p>
            <a:r>
              <a:rPr lang="nl-NL" dirty="0"/>
              <a:t>We weten dat sommige mensen kwetsbaarheid hebben voor ontwikkelen klachten, vanuit de genen. Dat is niet weg te behandelen. </a:t>
            </a:r>
          </a:p>
          <a:p>
            <a:r>
              <a:rPr lang="nl-NL" dirty="0"/>
              <a:t>Ook is de omgeving, eigenschappen van persoon en onderlinge (ervaren kwaliteit van de) relaties van invloed op </a:t>
            </a:r>
            <a:r>
              <a:rPr lang="nl-NL" dirty="0" err="1"/>
              <a:t>instandhouden</a:t>
            </a:r>
            <a:r>
              <a:rPr lang="nl-NL" dirty="0"/>
              <a:t> en uitlokken van de klachten. </a:t>
            </a:r>
          </a:p>
          <a:p>
            <a:r>
              <a:rPr lang="nl-NL" dirty="0"/>
              <a:t>Daarom kijken naar geheel en niet alleen denken: als dit dan dat. 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71837-703C-44AD-9774-4D67B9CFB331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65641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Korte beschrijving van casu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Jongere 15 jaar in zorg bij jeugd-GGZ, aangemeld vanwege depressieve klachten met zelfbeschadiging, suïcidaliteit en moeite met naar school gaan met pestverle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Ouders gescheiden. Jongere woont bij moeder met 2 jongere </a:t>
            </a:r>
            <a:r>
              <a:rPr lang="nl-NL" sz="1200" dirty="0" err="1"/>
              <a:t>brussen</a:t>
            </a:r>
            <a:r>
              <a:rPr lang="nl-NL" sz="12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Situatie: kleine woning, krappe financiële ruimte, klein netwerk ‘op elkaars lip’. Gezinssituatie: onderlinge veel stress/spanning en trauma-ervaringen in gezin (geweld/ matige zorg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VT in verleden betrokken. Nu geen acute onveiligheid in gezin. OKT betrokken, moeder ‘overbelast’, onduidelijk wat hulpvraag/ node is van andere kinder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Dilemma inbrenger: Moeder doet groot beroep op jongere (als steunfiguur en opvoedfiguur), veel spanningen en ruzies tussen jongere – moeder wat klachten aanjaag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Hulpvraag inbreng:  Hoe zorg te organiseren voor gezin met ‘overbelaste’ moeder en wat is passende hulp op individueel niveau voor jongere en moeder?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71837-703C-44AD-9774-4D67B9CFB331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8230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Korte beschrijving van casu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Jongere 15 jaar in zorg bij jeugd-GGZ, aangemeld vanwege depressieve klachten met zelfbeschadiging, suïcidaliteit en moeite met naar school gaan met pestverle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Ouders gescheiden. Jongere woont bij moeder met 2 jongere </a:t>
            </a:r>
            <a:r>
              <a:rPr lang="nl-NL" sz="1200" dirty="0" err="1"/>
              <a:t>brussen</a:t>
            </a:r>
            <a:r>
              <a:rPr lang="nl-NL" sz="12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Situatie: kleine woning, krappe financiële ruimte, klein netwerk ‘op elkaars lip’. Gezinssituatie: onderlinge veel stress/spanning en trauma-ervaringen in gezin (geweld/ matige zorg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VT in verleden betrokken. Nu geen acute onveiligheid in gezin. OKT betrokken, moeder ‘overbelast’, onduidelijk wat hulpvraag/ node is van andere kinder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Dilemma inbrenger: Moeder doet groot beroep op jongere (als steunfiguur en opvoedfiguur), veel spanningen en ruzies tussen jongere – moeder wat klachten aanjaag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200" dirty="0"/>
              <a:t>Hulpvraag inbreng:  Hoe zorg te organiseren voor gezin met ‘overbelaste’ moeder en wat is passende hulp op individueel niveau voor jongere en moeder?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71837-703C-44AD-9774-4D67B9CFB331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00262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  <a:p>
            <a:r>
              <a:rPr lang="nl-NL" dirty="0"/>
              <a:t>Vertragen; verhelderen; naast de ouder gaan staan. Let op schaamte en schuldgevoelens! Waar komt iemand vandaan en waar gaat iemand heen? Is er een stip op de horizon; wat gaat wel goed?</a:t>
            </a:r>
          </a:p>
          <a:p>
            <a:r>
              <a:rPr lang="nl-NL" dirty="0"/>
              <a:t>Inventariseren van de klachten en zorgen. </a:t>
            </a:r>
          </a:p>
          <a:p>
            <a:r>
              <a:rPr lang="nl-NL" dirty="0"/>
              <a:t>Inschakelen van andere domeinen.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71837-703C-44AD-9774-4D67B9CFB331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760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a goede inventarisatie en aansluiten bij hulpvraag met prioriteren van zorg &amp; inschakelen van andere domeinen kan je doorverwijzen naar GGZ (POH tot </a:t>
            </a:r>
            <a:r>
              <a:rPr lang="nl-NL" dirty="0" err="1"/>
              <a:t>sGGZ</a:t>
            </a:r>
            <a:r>
              <a:rPr lang="nl-NL" dirty="0"/>
              <a:t>) &amp; ook klachten zoon (medicamenteus) behandelen om interactie ouder-kind te verbeteren.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071837-703C-44AD-9774-4D67B9CFB331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6469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28C284-7148-26EF-5BC5-F4161BD477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4BFA811-F211-954F-0BCA-D44D7692E7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195013E-F1AC-36E9-0945-FCA05E5E25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94F8CD-D2B5-81AD-46E7-5858D578E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BA9B430-FB48-6290-D445-DBD5A79A4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711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C414C6-9CB7-FB86-C0FF-5E20A2C30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C8D5F0E-8CCC-ED0B-F164-A8BE03D327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D6458DC-A993-6F49-7456-09476684A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98EE2A9-F5D8-757C-534B-68BCEBC0AE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24EA9E-A847-CE03-8675-11145A38C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8490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2E62FB07-AFCE-E92B-8124-345E6ACA2E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E461DA0-D3D1-7FEE-1FF2-B2C636EF8B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4B6281D-1A79-D91A-BC99-3B1EF85CEA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950FB17-424F-6444-4936-A35FD7E33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728FB8B-68C6-9FC3-69BE-64B2E311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1444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a /  1 ko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88EAEF-36D2-7BC6-F464-E6E2986196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25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A0ED13-85AF-48A2-B969-4D6B3D0E2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06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A0ED13-85AF-48A2-B969-4D6B3D0E2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72BCC-906A-405B-9756-057BC758E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753" y="2011681"/>
            <a:ext cx="8613248" cy="3282359"/>
          </a:xfrm>
        </p:spPr>
        <p:txBody>
          <a:bodyPr wrap="square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BFF513D-396A-E1BA-9694-60DBBD63D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600" y="658368"/>
            <a:ext cx="8622402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B8B7670-99FE-8B8B-C7DA-BC1FCC933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866" y="6448197"/>
            <a:ext cx="2812350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3874506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4c /  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C30DDC2-AC37-B025-E749-8555D4110A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7C0E86-B5C6-4A7F-8C66-6160C5549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40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7C0E86-B5C6-4A7F-8C66-6160C5549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DCD009F-2A49-DC16-6DC8-615C29335224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911753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1C50E8-0B8A-04D6-5FA6-1CC7CC1FF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91365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7F25067-1A45-8D30-1771-B41996F91D6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070976" y="2395728"/>
            <a:ext cx="3218425" cy="28620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308A6DB-D564-4C97-8D6F-B112DA5F4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8641838" cy="498598"/>
          </a:xfrm>
        </p:spPr>
        <p:txBody>
          <a:bodyPr/>
          <a:lstStyle/>
          <a:p>
            <a:r>
              <a:rPr lang="nl-NL" noProof="0"/>
              <a:t>Klik om stijl te bewerke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090A99-1172-53BD-B37E-026EBEC78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753" y="6365068"/>
            <a:ext cx="4237803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defRPr sz="1400">
                <a:solidFill>
                  <a:srgbClr val="9B9183"/>
                </a:solidFill>
              </a:defRPr>
            </a:lvl1pPr>
          </a:lstStyle>
          <a:p>
            <a:r>
              <a:rPr lang="nl-NL"/>
              <a:t>Footer / Datum</a:t>
            </a:r>
          </a:p>
        </p:txBody>
      </p:sp>
    </p:spTree>
    <p:extLst>
      <p:ext uri="{BB962C8B-B14F-4D97-AF65-F5344CB8AC3E}">
        <p14:creationId xmlns:p14="http://schemas.microsoft.com/office/powerpoint/2010/main" val="3486689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41108B-ADDC-426C-8DC9-896861941B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48C45709-818F-7A5C-CF58-EF439B0788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C886246-F875-82A8-F291-F484725A8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5446D6-05A4-50F0-F98F-28B89A671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A6EA044-B052-ED14-143C-92B1DF00A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168038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5B2428-161F-9E0C-A39A-474C5A561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752B7D1-BE0C-F901-68FA-4FBD9B75B4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3FD92F0-1FFE-D0A4-5DCD-CBB144606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9B6E4A3-D955-C78E-6051-7E5F2EB7F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51C0808-DE1E-A20F-E3E6-9817139BE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3878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77BF40-F2B8-D5E5-02A9-58E88C4D3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13B2D43-25EB-D21E-50E0-76FDC2932B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ACE7E1-FFF3-E82D-A3CF-5FBC0ED4F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540BA57-16ED-0261-1561-68D246EB9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B211C1-6FD7-4EDE-6074-43219E08F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797985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624A2A-E9AD-E9EF-3C3A-CFDBE1A81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1EE4A50-BECB-D05F-16CF-D95064FC5C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CE66DD67-61D1-C181-DF66-054917B380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E4BEFE6-7F24-BD4C-EACD-9264E0469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4FEAD89-B261-F0E7-F125-F66690B08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F970089-00A5-B7D0-BB72-0B5DE4C3D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84400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51A9F9-3FE5-A926-D5B6-D23BBF14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7FE827C-93F5-0F4F-9ECF-9A54B1D4EB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DB509B5-CC87-F63B-4684-27AC1A5BB7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BCDA168-8B6C-94CD-BD6C-677051EB34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DF5F7914-C2BD-DD5C-5C4C-7BC4D6E367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DAE6DF5C-D5E6-6CCF-E25E-60D0B0CE9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F2617CCC-0BA5-9FFA-DBB5-A8FB40612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1D1CE993-A61E-1853-831C-378162EBF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9434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1421FD-BB1C-A01B-14F4-2762F072B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5A38464E-F4D5-202F-8FD4-396541EE8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8088A3B-D89A-82BA-267A-D6FAE1BCA6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5237C6B-49C3-D0E6-A249-28211951C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05257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51CCB2-05E7-CD7A-5E16-ED0C7C15C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7869323-0EA3-37D7-085F-82EB99E05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744367B-8210-C3F7-0C0D-53B8E1C48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3DFB5E7-215D-8CBB-444C-F84574CF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F13484F-4E1B-36E5-149F-5271C6BB1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858953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9E024584-B016-4BCC-EE04-A5A17D8E1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AB92814D-6730-53C6-B709-C986EE57D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99C0D75-1C7D-7012-ECE7-8CEAE785F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61332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C1D851-182B-58B7-3EFD-AA088FB0A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D61B7EE-AF20-E1ED-5D58-FC47EF371E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F19D0453-8E7E-40A4-7C89-DCC616166E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2347676F-3F35-FC59-6AE5-97325743A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EB0617F-27A6-524D-80D3-BE547E1D5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C085B80-5AEB-0C7B-4CA8-EFE5E9443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71691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DCDFA5-8B65-3E86-54FE-DC545EE84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950A20B-8EE5-2EAF-EA8E-967A517F4D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8C0A622-7B1E-5C79-7308-5C69AB6F1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0215FC9E-2C77-56B3-1149-307354106C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3832035-78B7-BC17-86C0-C7A30EAB9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984860-0026-6A9A-F06F-EAB838A764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42928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27DEF3-9918-5950-45AF-F84FF04C2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3732523-718B-1280-BF1D-536F497CCB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03C2DE7-A272-6F36-2A59-8CC2ECA64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330051D-5919-70EB-4B2D-60DE57941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55EF51A-30DD-FE86-C19B-FB86A914C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650744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F13D6C45-2E79-5514-4BCB-1611D91982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0FB844D8-4577-915C-E543-3276856322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DCA298B-ADF6-3931-5D32-CBA05EE9A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C96E507-0E57-FC4A-057C-50C72E120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67E538A-F583-E590-846C-AE612156C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9047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51CCB2-05E7-CD7A-5E16-ED0C7C15C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7869323-0EA3-37D7-085F-82EB99E05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744367B-8210-C3F7-0C0D-53B8E1C48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E6132F-7D35-314C-ADE8-5959AE46155F}" type="datetimeFigureOut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-7-202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3DFB5E7-215D-8CBB-444C-F84574CF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F13484F-4E1B-36E5-149F-5271C6BB1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DB8B79-1E56-4B4D-BDA5-8AD0169FF4CC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8148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E704D6-8F37-023B-6B0E-62E08C155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B931C67-1D08-CC97-9561-2B4AB4009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00892F3-86E0-E611-1278-A742B2F53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55CB985-A10B-AB27-C51C-0CBB90CAC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09C07CB-5942-1CD4-9F04-B5394163C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98411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4AC80B-8AF0-3CB4-EBAA-131652EED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C27C81C-ED8B-8812-675A-0BA0FA34C7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8A152BF2-08A5-6DAC-9A96-B0C68DA4D3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04C3F24-C7A1-F721-815B-AE656A346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F255231-6924-9AF2-3D2B-FF6681E791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6EF60E8-2840-15FA-A469-BCDEE2E61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05320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AC202-E383-768C-E3C5-E98D93D4E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815AFA-3B65-7B90-491F-ADE5E3CEF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F382381-82A6-4EE3-5BD8-32A7012A00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5D79AAA-1217-52B3-2A0C-ED40303C25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E2A93241-5399-9B30-96BF-033151153C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E89E2A0A-D490-D9C3-5A1F-F7540576D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5D33179-EB77-F49B-4F51-AF285CF64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A16F4211-EC1D-297E-CD34-D0883C55E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843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7D8C9D-D9FD-C508-190F-D1E6C982B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E8D3783-6A18-4857-4085-40A3E813C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4AB1333-E18E-E3FA-B943-F58E8C445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C4AEEEB-FBAD-7697-3981-87821F421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0234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BFB3BE8-C502-CA92-DB89-E097D350C3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89138531-E945-E20D-3AF1-B02263689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DF1004D-1B00-BF39-EEA9-9B9605D57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15600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3C5860-895E-31FE-9040-3835D477B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1203028-CBB6-B876-76AB-2855DDDAFC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338749A-E5AD-877F-C33C-EE6DD3A410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6935E83-14A8-DF5B-6190-06433EBE5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3728D04-71B6-3D67-E496-0979A8EAF2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A94FB87-A483-5AC6-3A06-738ABCBCE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1557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30DD55-08D1-38DB-3AB9-ACEABD208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19377A8D-C420-7B5B-C080-7903F67DEC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428B322-3114-CF05-EDF1-A18CD1488C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D07C48B-8EA5-3252-9725-1F9CD6110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C616591-D655-CF3C-E68B-701B4D85A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3FB2B177-B46A-7DF3-8FC1-3C0475FE2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4019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DCBE535-26E7-9FAC-D758-C0A2DCA7B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A369CC4-92E4-C1FC-3ECB-AE03CE1AB2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6017267-9585-9D29-225C-6C983ECE89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6132F-7D35-314C-ADE8-5959AE46155F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AFDCB69-EFD3-3019-E76B-30CBC405EB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42FFBF-A382-744F-D1FA-82CF26F51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DB8B79-1E56-4B4D-BDA5-8AD0169FF4C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8369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F3FAD21-20E1-489B-78D0-0698BB426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562C0AE-3661-4E65-0E5B-2D84E8EC01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C16B703-7ABF-ACA7-699F-B14ADF35AD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7C98B6-B59C-4C4F-98A9-3AA6A1AC1998}" type="datetimeFigureOut">
              <a:rPr lang="nl-NL" smtClean="0"/>
              <a:t>4-7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21DD78D-46CD-ED93-CC33-15AC46A9CA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DD835F2-1772-B078-8467-F86CB5015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220100-FBEF-47F9-9D33-025052961E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96613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DCBE535-26E7-9FAC-D758-C0A2DCA7B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A369CC4-92E4-C1FC-3ECB-AE03CE1AB2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6017267-9585-9D29-225C-6C983ECE89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E6132F-7D35-314C-ADE8-5959AE46155F}" type="datetimeFigureOut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-7-202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AFDCB69-EFD3-3019-E76B-30CBC405EB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42FFBF-A382-744F-D1FA-82CF26F51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DB8B79-1E56-4B4D-BDA5-8AD0169FF4CC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7759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8.svg"/><Relationship Id="rId18" Type="http://schemas.openxmlformats.org/officeDocument/2006/relationships/image" Target="../media/image24.png"/><Relationship Id="rId3" Type="http://schemas.openxmlformats.org/officeDocument/2006/relationships/image" Target="../media/image16.png"/><Relationship Id="rId21" Type="http://schemas.openxmlformats.org/officeDocument/2006/relationships/image" Target="../media/image36.svg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17" Type="http://schemas.openxmlformats.org/officeDocument/2006/relationships/image" Target="../media/image32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3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svg"/><Relationship Id="rId11" Type="http://schemas.openxmlformats.org/officeDocument/2006/relationships/image" Target="../media/image26.svg"/><Relationship Id="rId5" Type="http://schemas.openxmlformats.org/officeDocument/2006/relationships/image" Target="../media/image17.png"/><Relationship Id="rId15" Type="http://schemas.openxmlformats.org/officeDocument/2006/relationships/image" Target="../media/image30.svg"/><Relationship Id="rId10" Type="http://schemas.openxmlformats.org/officeDocument/2006/relationships/image" Target="../media/image20.png"/><Relationship Id="rId19" Type="http://schemas.openxmlformats.org/officeDocument/2006/relationships/image" Target="../media/image34.svg"/><Relationship Id="rId4" Type="http://schemas.openxmlformats.org/officeDocument/2006/relationships/image" Target="../media/image19.svg"/><Relationship Id="rId9" Type="http://schemas.openxmlformats.org/officeDocument/2006/relationships/image" Target="../media/image24.svg"/><Relationship Id="rId14" Type="http://schemas.openxmlformats.org/officeDocument/2006/relationships/image" Target="../media/image22.png"/><Relationship Id="rId22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53.svg"/><Relationship Id="rId3" Type="http://schemas.openxmlformats.org/officeDocument/2006/relationships/image" Target="../media/image33.png"/><Relationship Id="rId7" Type="http://schemas.openxmlformats.org/officeDocument/2006/relationships/image" Target="../media/image47.sv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openxmlformats.org/officeDocument/2006/relationships/image" Target="../media/image51.svg"/><Relationship Id="rId5" Type="http://schemas.openxmlformats.org/officeDocument/2006/relationships/image" Target="../media/image18.png"/><Relationship Id="rId10" Type="http://schemas.openxmlformats.org/officeDocument/2006/relationships/image" Target="../media/image36.png"/><Relationship Id="rId4" Type="http://schemas.openxmlformats.org/officeDocument/2006/relationships/image" Target="../media/image45.svg"/><Relationship Id="rId9" Type="http://schemas.openxmlformats.org/officeDocument/2006/relationships/image" Target="../media/image49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35.png"/><Relationship Id="rId3" Type="http://schemas.openxmlformats.org/officeDocument/2006/relationships/image" Target="../media/image33.png"/><Relationship Id="rId7" Type="http://schemas.openxmlformats.org/officeDocument/2006/relationships/image" Target="../media/image28.sv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1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11" Type="http://schemas.openxmlformats.org/officeDocument/2006/relationships/image" Target="../media/image34.png"/><Relationship Id="rId5" Type="http://schemas.openxmlformats.org/officeDocument/2006/relationships/image" Target="../media/image18.png"/><Relationship Id="rId15" Type="http://schemas.openxmlformats.org/officeDocument/2006/relationships/image" Target="../media/image36.png"/><Relationship Id="rId10" Type="http://schemas.openxmlformats.org/officeDocument/2006/relationships/image" Target="../media/image44.png"/><Relationship Id="rId4" Type="http://schemas.openxmlformats.org/officeDocument/2006/relationships/image" Target="../media/image45.svg"/><Relationship Id="rId9" Type="http://schemas.openxmlformats.org/officeDocument/2006/relationships/image" Target="../media/image43.png"/><Relationship Id="rId14" Type="http://schemas.openxmlformats.org/officeDocument/2006/relationships/image" Target="../media/image49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28.svg"/><Relationship Id="rId3" Type="http://schemas.openxmlformats.org/officeDocument/2006/relationships/image" Target="../media/image33.png"/><Relationship Id="rId7" Type="http://schemas.openxmlformats.org/officeDocument/2006/relationships/image" Target="../media/image47.sv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openxmlformats.org/officeDocument/2006/relationships/image" Target="../media/image51.svg"/><Relationship Id="rId5" Type="http://schemas.openxmlformats.org/officeDocument/2006/relationships/image" Target="../media/image18.png"/><Relationship Id="rId15" Type="http://schemas.openxmlformats.org/officeDocument/2006/relationships/image" Target="../media/image43.png"/><Relationship Id="rId10" Type="http://schemas.openxmlformats.org/officeDocument/2006/relationships/image" Target="../media/image36.png"/><Relationship Id="rId4" Type="http://schemas.openxmlformats.org/officeDocument/2006/relationships/image" Target="../media/image45.svg"/><Relationship Id="rId9" Type="http://schemas.openxmlformats.org/officeDocument/2006/relationships/image" Target="../media/image49.svg"/><Relationship Id="rId1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7.png"/><Relationship Id="rId12" Type="http://schemas.openxmlformats.org/officeDocument/2006/relationships/image" Target="../media/image70.svg"/><Relationship Id="rId17" Type="http://schemas.openxmlformats.org/officeDocument/2006/relationships/image" Target="../media/image75.svg"/><Relationship Id="rId2" Type="http://schemas.openxmlformats.org/officeDocument/2006/relationships/image" Target="../media/image18.png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svg"/><Relationship Id="rId11" Type="http://schemas.openxmlformats.org/officeDocument/2006/relationships/image" Target="../media/image49.png"/><Relationship Id="rId5" Type="http://schemas.openxmlformats.org/officeDocument/2006/relationships/image" Target="../media/image46.png"/><Relationship Id="rId15" Type="http://schemas.openxmlformats.org/officeDocument/2006/relationships/image" Target="../media/image51.png"/><Relationship Id="rId10" Type="http://schemas.openxmlformats.org/officeDocument/2006/relationships/image" Target="../media/image68.svg"/><Relationship Id="rId4" Type="http://schemas.openxmlformats.org/officeDocument/2006/relationships/image" Target="../media/image62.svg"/><Relationship Id="rId9" Type="http://schemas.openxmlformats.org/officeDocument/2006/relationships/image" Target="../media/image48.png"/><Relationship Id="rId14" Type="http://schemas.openxmlformats.org/officeDocument/2006/relationships/image" Target="../media/image72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28.svg"/><Relationship Id="rId3" Type="http://schemas.openxmlformats.org/officeDocument/2006/relationships/image" Target="../media/image33.png"/><Relationship Id="rId7" Type="http://schemas.openxmlformats.org/officeDocument/2006/relationships/image" Target="../media/image47.sv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openxmlformats.org/officeDocument/2006/relationships/image" Target="../media/image51.svg"/><Relationship Id="rId5" Type="http://schemas.openxmlformats.org/officeDocument/2006/relationships/image" Target="../media/image18.png"/><Relationship Id="rId15" Type="http://schemas.openxmlformats.org/officeDocument/2006/relationships/image" Target="../media/image43.png"/><Relationship Id="rId10" Type="http://schemas.openxmlformats.org/officeDocument/2006/relationships/image" Target="../media/image36.png"/><Relationship Id="rId4" Type="http://schemas.openxmlformats.org/officeDocument/2006/relationships/image" Target="../media/image45.svg"/><Relationship Id="rId9" Type="http://schemas.openxmlformats.org/officeDocument/2006/relationships/image" Target="../media/image49.svg"/><Relationship Id="rId1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svgsilh.com/de/image/2750376.html" TargetMode="External"/><Relationship Id="rId4" Type="http://schemas.openxmlformats.org/officeDocument/2006/relationships/image" Target="../media/image14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microsoft.com/office/2007/relationships/hdphoto" Target="../media/hdphoto1.wdp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youtube.com/watch?v=cEg0UJRB4VI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svgsilh.com/de/image/2750376.html" TargetMode="External"/><Relationship Id="rId4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749713-C8F0-5198-3083-CDCEC1D24E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3A0549A5-BD9C-EDC5-9B35-53AB35089AB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21025FCF-7740-F08D-F9A6-CD8414C3A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763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15027E-2E27-F651-BF4A-7DC246CE4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42612"/>
            <a:ext cx="10515600" cy="2050100"/>
          </a:xfrm>
        </p:spPr>
        <p:txBody>
          <a:bodyPr>
            <a:normAutofit fontScale="90000"/>
          </a:bodyPr>
          <a:lstStyle/>
          <a:p>
            <a:r>
              <a:rPr lang="nl-NL" sz="4200" b="1" dirty="0">
                <a:solidFill>
                  <a:srgbClr val="0070C0"/>
                </a:solidFill>
                <a:latin typeface="IBM Plex Sans SemiBold" panose="020B0604020202020204" pitchFamily="34" charset="0"/>
              </a:rPr>
              <a:t>Academische werkplaats </a:t>
            </a:r>
            <a:r>
              <a:rPr lang="nl-NL" sz="4200" b="1" dirty="0" err="1">
                <a:solidFill>
                  <a:srgbClr val="0070C0"/>
                </a:solidFill>
                <a:latin typeface="IBM Plex Sans SemiBold" panose="020B0604020202020204" pitchFamily="34" charset="0"/>
              </a:rPr>
              <a:t>GEZIeN</a:t>
            </a:r>
            <a:r>
              <a:rPr lang="nl-NL" sz="3800" dirty="0">
                <a:solidFill>
                  <a:srgbClr val="0070C0"/>
                </a:solidFill>
                <a:latin typeface="IBM Plex Sans SemiBold" panose="020B0604020202020204" pitchFamily="34" charset="0"/>
              </a:rPr>
              <a:t/>
            </a:r>
            <a:br>
              <a:rPr lang="nl-NL" sz="3800" dirty="0">
                <a:solidFill>
                  <a:srgbClr val="0070C0"/>
                </a:solidFill>
                <a:latin typeface="IBM Plex Sans SemiBold" panose="020B0604020202020204" pitchFamily="34" charset="0"/>
              </a:rPr>
            </a:br>
            <a:r>
              <a:rPr lang="nl-NL" sz="3600" i="1" dirty="0">
                <a:solidFill>
                  <a:srgbClr val="0070C0"/>
                </a:solidFill>
                <a:latin typeface="IBM Plex Sans SemiBold" panose="020B0604020202020204" pitchFamily="34" charset="0"/>
              </a:rPr>
              <a:t>gezinsgericht werken aan mentale gezondheid </a:t>
            </a:r>
            <a:endParaRPr lang="nl-NL" sz="3100" dirty="0">
              <a:latin typeface="IBM Plex Sans SemiBold" panose="020B0604020202020204" pitchFamily="34" charset="0"/>
            </a:endParaRPr>
          </a:p>
        </p:txBody>
      </p:sp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D0FEDC31-51BC-6D93-B92C-80B4591C26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52308" y="2964368"/>
            <a:ext cx="2487384" cy="1883827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DB9C3511-EBF5-538A-CBE7-3BCE770AE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3906282"/>
            <a:ext cx="3145809" cy="536494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648B462A-E247-1790-55EC-E38C44BB90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459" y="2964368"/>
            <a:ext cx="2517866" cy="1688738"/>
          </a:xfrm>
          <a:prstGeom prst="rect">
            <a:avLst/>
          </a:prstGeom>
        </p:spPr>
      </p:pic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F414949-446C-ADE3-50BF-5AF1903F5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A03F7-38FC-4AE6-A6BB-415512E4C6A5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96775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 descr="Cirkel met pijl silhouet">
            <a:extLst>
              <a:ext uri="{FF2B5EF4-FFF2-40B4-BE49-F238E27FC236}">
                <a16:creationId xmlns:a16="http://schemas.microsoft.com/office/drawing/2014/main" id="{865DD3E5-3089-10FC-1E04-3F488A8D8F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77515" y="1317542"/>
            <a:ext cx="4026586" cy="4026586"/>
          </a:xfrm>
          <a:prstGeom prst="rect">
            <a:avLst/>
          </a:prstGeom>
        </p:spPr>
      </p:pic>
      <p:pic>
        <p:nvPicPr>
          <p:cNvPr id="6" name="Tijdelijke aanduiding voor inhoud 5" descr="Vrouw met kind silhouet">
            <a:extLst>
              <a:ext uri="{FF2B5EF4-FFF2-40B4-BE49-F238E27FC236}">
                <a16:creationId xmlns:a16="http://schemas.microsoft.com/office/drawing/2014/main" id="{0CC766CB-C80D-B56C-120A-3C63640418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924993" y="2529046"/>
            <a:ext cx="1446941" cy="1446941"/>
          </a:xfr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52338" y="3755006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600" y="658368"/>
            <a:ext cx="8622402" cy="470898"/>
          </a:xfrm>
        </p:spPr>
        <p:txBody>
          <a:bodyPr>
            <a:normAutofit fontScale="90000"/>
          </a:bodyPr>
          <a:lstStyle/>
          <a:p>
            <a:r>
              <a:rPr lang="nl-NL" sz="3400" dirty="0"/>
              <a:t>1. Los het op maar dan is het niet opgelost</a:t>
            </a:r>
          </a:p>
        </p:txBody>
      </p:sp>
      <p:pic>
        <p:nvPicPr>
          <p:cNvPr id="9" name="Graphic 8" descr="Vrouw die schouders ophaalt silhouet">
            <a:extLst>
              <a:ext uri="{FF2B5EF4-FFF2-40B4-BE49-F238E27FC236}">
                <a16:creationId xmlns:a16="http://schemas.microsoft.com/office/drawing/2014/main" id="{7A3DCC20-6C47-44C3-DEBE-6ABB3B27D2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828022" y="1326274"/>
            <a:ext cx="1322639" cy="1322639"/>
          </a:xfrm>
          <a:prstGeom prst="rect">
            <a:avLst/>
          </a:prstGeom>
        </p:spPr>
      </p:pic>
      <p:pic>
        <p:nvPicPr>
          <p:cNvPr id="11" name="Graphic 10" descr="Kind met ballon silhouet">
            <a:extLst>
              <a:ext uri="{FF2B5EF4-FFF2-40B4-BE49-F238E27FC236}">
                <a16:creationId xmlns:a16="http://schemas.microsoft.com/office/drawing/2014/main" id="{5103AAF5-5278-77AE-15D4-BBDDC323BD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146266" y="1201973"/>
            <a:ext cx="1446940" cy="1446940"/>
          </a:xfrm>
          <a:prstGeom prst="rect">
            <a:avLst/>
          </a:prstGeom>
        </p:spPr>
      </p:pic>
      <p:pic>
        <p:nvPicPr>
          <p:cNvPr id="13" name="Graphic 12" descr="Open hand met planten silhouet">
            <a:extLst>
              <a:ext uri="{FF2B5EF4-FFF2-40B4-BE49-F238E27FC236}">
                <a16:creationId xmlns:a16="http://schemas.microsoft.com/office/drawing/2014/main" id="{975447CE-86C1-A4EC-18A2-97891022D1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2725020" y="4651017"/>
            <a:ext cx="1188625" cy="1188625"/>
          </a:xfrm>
          <a:prstGeom prst="rect">
            <a:avLst/>
          </a:prstGeom>
        </p:spPr>
      </p:pic>
      <p:pic>
        <p:nvPicPr>
          <p:cNvPr id="15" name="Graphic 14" descr="DNA silhouet">
            <a:extLst>
              <a:ext uri="{FF2B5EF4-FFF2-40B4-BE49-F238E27FC236}">
                <a16:creationId xmlns:a16="http://schemas.microsoft.com/office/drawing/2014/main" id="{707EB61A-277D-DAAE-83B5-A9000BD1AD5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4844932" y="4830856"/>
            <a:ext cx="914400" cy="914400"/>
          </a:xfrm>
          <a:prstGeom prst="rect">
            <a:avLst/>
          </a:prstGeom>
        </p:spPr>
      </p:pic>
      <p:pic>
        <p:nvPicPr>
          <p:cNvPr id="19" name="Graphic 18" descr="Vingerafdruk silhouet">
            <a:extLst>
              <a:ext uri="{FF2B5EF4-FFF2-40B4-BE49-F238E27FC236}">
                <a16:creationId xmlns:a16="http://schemas.microsoft.com/office/drawing/2014/main" id="{2581D017-5641-FDA9-D9B3-22C5C6C0ADA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6677053" y="4804296"/>
            <a:ext cx="914400" cy="914400"/>
          </a:xfrm>
          <a:prstGeom prst="rect">
            <a:avLst/>
          </a:prstGeom>
        </p:spPr>
      </p:pic>
      <p:pic>
        <p:nvPicPr>
          <p:cNvPr id="21" name="Graphic 20" descr="Telraam silhouet">
            <a:extLst>
              <a:ext uri="{FF2B5EF4-FFF2-40B4-BE49-F238E27FC236}">
                <a16:creationId xmlns:a16="http://schemas.microsoft.com/office/drawing/2014/main" id="{DCE71E95-A455-D6C0-2063-B8D53BB6AA5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329865" y="2529046"/>
            <a:ext cx="1751970" cy="1751970"/>
          </a:xfrm>
          <a:prstGeom prst="rect">
            <a:avLst/>
          </a:prstGeom>
        </p:spPr>
      </p:pic>
      <p:pic>
        <p:nvPicPr>
          <p:cNvPr id="23" name="Graphic 22" descr="Liefdesbrief silhouet">
            <a:extLst>
              <a:ext uri="{FF2B5EF4-FFF2-40B4-BE49-F238E27FC236}">
                <a16:creationId xmlns:a16="http://schemas.microsoft.com/office/drawing/2014/main" id="{8CFAB553-8BDB-7C88-9011-AAD6A830C2A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8065540" y="4788129"/>
            <a:ext cx="914400" cy="914400"/>
          </a:xfrm>
          <a:prstGeom prst="rect">
            <a:avLst/>
          </a:prstGeom>
        </p:spPr>
      </p:pic>
      <p:sp>
        <p:nvSpPr>
          <p:cNvPr id="24" name="Tekstvak 23">
            <a:extLst>
              <a:ext uri="{FF2B5EF4-FFF2-40B4-BE49-F238E27FC236}">
                <a16:creationId xmlns:a16="http://schemas.microsoft.com/office/drawing/2014/main" id="{BC94BFC5-D4F1-650F-5207-E689869DDA04}"/>
              </a:ext>
            </a:extLst>
          </p:cNvPr>
          <p:cNvSpPr txBox="1"/>
          <p:nvPr/>
        </p:nvSpPr>
        <p:spPr>
          <a:xfrm>
            <a:off x="2231472" y="2969703"/>
            <a:ext cx="62469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3600" dirty="0"/>
              <a:t>=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BD6EC464-40B4-C6A9-26C7-F6C77383D20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960528" y="3134051"/>
            <a:ext cx="1901607" cy="324305"/>
          </a:xfrm>
          <a:prstGeom prst="rect">
            <a:avLst/>
          </a:prstGeom>
        </p:spPr>
      </p:pic>
      <p:sp>
        <p:nvSpPr>
          <p:cNvPr id="3" name="Tijdelijke aanduiding voor voettekst 3">
            <a:extLst>
              <a:ext uri="{FF2B5EF4-FFF2-40B4-BE49-F238E27FC236}">
                <a16:creationId xmlns:a16="http://schemas.microsoft.com/office/drawing/2014/main" id="{083635F9-2B5B-8A5C-5FEF-66F9808E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865" y="6143169"/>
            <a:ext cx="10919771" cy="47089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Psychopathology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 in families: </a:t>
            </a:r>
            <a:r>
              <a:rPr kumimoji="0" lang="nl-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an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nl-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integral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 approach. S.C. van Veen et al. </a:t>
            </a:r>
            <a:r>
              <a:rPr kumimoji="0" lang="nl-NL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TvP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  <a:t>, jaargang 58 (2016) 95 – 104</a:t>
            </a:r>
            <a:b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9B9183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lang="en-US" sz="800" dirty="0"/>
              <a:t>Spousal resemblance in psychopathology: A comparison of parents of children with and without psychopathology. </a:t>
            </a:r>
            <a:r>
              <a:rPr lang="nl-NL" sz="800" dirty="0"/>
              <a:t>L.W. Wesseldijk, et al. </a:t>
            </a:r>
            <a:r>
              <a:rPr lang="pl-PL" sz="800" dirty="0"/>
              <a:t>European Psychiatry 34 (2016) 49–55</a:t>
            </a:r>
            <a:r>
              <a:rPr lang="nl-NL" sz="800" dirty="0"/>
              <a:t/>
            </a:r>
            <a:br>
              <a:rPr lang="nl-NL" sz="800" dirty="0"/>
            </a:br>
            <a:r>
              <a:rPr lang="en-US" sz="800" dirty="0"/>
              <a:t>Do Parental Psychiatric Symptoms Predict Outcome in Children With Psychiatric Disorders? A Naturalistic Clinical Study. Laura W. </a:t>
            </a:r>
            <a:r>
              <a:rPr lang="en-US" sz="800" dirty="0" err="1"/>
              <a:t>Wesseldijk</a:t>
            </a:r>
            <a:r>
              <a:rPr lang="en-US" sz="800" dirty="0"/>
              <a:t> et al. J Am </a:t>
            </a:r>
            <a:r>
              <a:rPr lang="en-US" sz="800" dirty="0" err="1"/>
              <a:t>Acad</a:t>
            </a:r>
            <a:r>
              <a:rPr lang="en-US" sz="800" dirty="0"/>
              <a:t> Child </a:t>
            </a:r>
            <a:r>
              <a:rPr lang="en-US" sz="800" dirty="0" err="1"/>
              <a:t>Adolesc</a:t>
            </a:r>
            <a:r>
              <a:rPr lang="en-US" sz="800" dirty="0"/>
              <a:t> Psychiatry 2018;57(9):669–677</a:t>
            </a:r>
            <a:r>
              <a:rPr lang="nl-NL" sz="800" dirty="0"/>
              <a:t/>
            </a:r>
            <a:br>
              <a:rPr lang="nl-NL" sz="800" dirty="0"/>
            </a:br>
            <a:endParaRPr kumimoji="0" lang="nl-NL" sz="800" b="0" i="0" u="none" strike="noStrike" kern="1200" cap="none" spc="0" normalizeH="0" baseline="0" noProof="0" dirty="0">
              <a:ln>
                <a:noFill/>
              </a:ln>
              <a:solidFill>
                <a:srgbClr val="9B9183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800" b="0" i="0" u="none" strike="noStrike" kern="1200" cap="none" spc="0" normalizeH="0" baseline="0" noProof="0" dirty="0">
              <a:ln>
                <a:noFill/>
              </a:ln>
              <a:solidFill>
                <a:srgbClr val="9B9183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0762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B98E3EE-A215-446F-8260-36BC6B45D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Samenwerking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51EBF49-0353-9A49-F24E-10FB9FDFA1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151" y="1304126"/>
            <a:ext cx="6096528" cy="3429297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D5944452-2C1A-8619-F9FF-2CAA41C21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8428" y="225174"/>
            <a:ext cx="4600453" cy="4991450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FAE5083E-1287-D417-CCB0-E9F41A9E32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068" y="5135675"/>
            <a:ext cx="3110653" cy="1063957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C06CF4CC-2AB8-E975-C042-80EE25DD5D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7197" y="5268818"/>
            <a:ext cx="3110653" cy="124777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6D404CA3-1FF8-B9CE-F487-B1FFFFC5EE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53500" y="3711863"/>
            <a:ext cx="3238500" cy="1381125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46A02ADA-738B-F39D-6D82-22B24739C5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76730" y="5004682"/>
            <a:ext cx="1333150" cy="133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720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al 11">
            <a:extLst>
              <a:ext uri="{FF2B5EF4-FFF2-40B4-BE49-F238E27FC236}">
                <a16:creationId xmlns:a16="http://schemas.microsoft.com/office/drawing/2014/main" id="{B416542B-F9C7-CB83-7287-51102C98A036}"/>
              </a:ext>
            </a:extLst>
          </p:cNvPr>
          <p:cNvSpPr/>
          <p:nvPr/>
        </p:nvSpPr>
        <p:spPr>
          <a:xfrm>
            <a:off x="1376645" y="3047074"/>
            <a:ext cx="751561" cy="7139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  <p:pic>
        <p:nvPicPr>
          <p:cNvPr id="6" name="Tijdelijke aanduiding voor inhoud 5" descr="Hiërarchie silhouet">
            <a:extLst>
              <a:ext uri="{FF2B5EF4-FFF2-40B4-BE49-F238E27FC236}">
                <a16:creationId xmlns:a16="http://schemas.microsoft.com/office/drawing/2014/main" id="{7200B41C-99EF-A31E-411F-338E6507E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06321" y="1359753"/>
            <a:ext cx="2591866" cy="2591866"/>
          </a:xfr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Casus</a:t>
            </a:r>
          </a:p>
        </p:txBody>
      </p:sp>
      <p:pic>
        <p:nvPicPr>
          <p:cNvPr id="14" name="Graphic 13" descr="Bliksemschicht silhouet">
            <a:extLst>
              <a:ext uri="{FF2B5EF4-FFF2-40B4-BE49-F238E27FC236}">
                <a16:creationId xmlns:a16="http://schemas.microsoft.com/office/drawing/2014/main" id="{7CE83CF9-2289-B003-63BB-930FFF1756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540523" y="1981689"/>
            <a:ext cx="1061731" cy="1061731"/>
          </a:xfrm>
          <a:prstGeom prst="rect">
            <a:avLst/>
          </a:prstGeom>
        </p:spPr>
      </p:pic>
      <p:pic>
        <p:nvPicPr>
          <p:cNvPr id="20" name="Graphic 19" descr="Autogordel silhouet">
            <a:extLst>
              <a:ext uri="{FF2B5EF4-FFF2-40B4-BE49-F238E27FC236}">
                <a16:creationId xmlns:a16="http://schemas.microsoft.com/office/drawing/2014/main" id="{4E8169EC-2F76-D91D-0E07-0635053827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75155" y="2720491"/>
            <a:ext cx="914400" cy="914400"/>
          </a:xfrm>
          <a:prstGeom prst="rect">
            <a:avLst/>
          </a:prstGeom>
        </p:spPr>
      </p:pic>
      <p:pic>
        <p:nvPicPr>
          <p:cNvPr id="22" name="Graphic 21" descr="Mitella silhouet">
            <a:extLst>
              <a:ext uri="{FF2B5EF4-FFF2-40B4-BE49-F238E27FC236}">
                <a16:creationId xmlns:a16="http://schemas.microsoft.com/office/drawing/2014/main" id="{7D6200CC-9F85-C4D6-B989-E564AEC337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75156" y="1548624"/>
            <a:ext cx="914400" cy="914400"/>
          </a:xfrm>
          <a:prstGeom prst="rect">
            <a:avLst/>
          </a:prstGeom>
        </p:spPr>
      </p:pic>
      <p:sp>
        <p:nvSpPr>
          <p:cNvPr id="23" name="Tekstvak 22">
            <a:extLst>
              <a:ext uri="{FF2B5EF4-FFF2-40B4-BE49-F238E27FC236}">
                <a16:creationId xmlns:a16="http://schemas.microsoft.com/office/drawing/2014/main" id="{0BE4A2B7-873B-5AA5-1817-BE4218EEE289}"/>
              </a:ext>
            </a:extLst>
          </p:cNvPr>
          <p:cNvSpPr txBox="1"/>
          <p:nvPr/>
        </p:nvSpPr>
        <p:spPr>
          <a:xfrm>
            <a:off x="5699497" y="1895458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Geen enkelvoudig probleem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62F1EF4-BD21-14B1-BB8B-F8DC45677CA9}"/>
              </a:ext>
            </a:extLst>
          </p:cNvPr>
          <p:cNvSpPr txBox="1"/>
          <p:nvPr/>
        </p:nvSpPr>
        <p:spPr>
          <a:xfrm>
            <a:off x="5702094" y="2979816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Zorgen om de veiligheid</a:t>
            </a:r>
          </a:p>
        </p:txBody>
      </p:sp>
      <p:pic>
        <p:nvPicPr>
          <p:cNvPr id="28" name="Graphic 27" descr="Vragen silhouet">
            <a:extLst>
              <a:ext uri="{FF2B5EF4-FFF2-40B4-BE49-F238E27FC236}">
                <a16:creationId xmlns:a16="http://schemas.microsoft.com/office/drawing/2014/main" id="{F4CF35C0-4661-4EDE-756D-91289EB413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2189019" y="4559474"/>
            <a:ext cx="914400" cy="914400"/>
          </a:xfrm>
          <a:prstGeom prst="rect">
            <a:avLst/>
          </a:prstGeom>
        </p:spPr>
      </p:pic>
      <p:sp>
        <p:nvSpPr>
          <p:cNvPr id="29" name="Tekstvak 28">
            <a:extLst>
              <a:ext uri="{FF2B5EF4-FFF2-40B4-BE49-F238E27FC236}">
                <a16:creationId xmlns:a16="http://schemas.microsoft.com/office/drawing/2014/main" id="{6DFBD7D8-32AB-E70E-31B5-D01646A0B0E1}"/>
              </a:ext>
            </a:extLst>
          </p:cNvPr>
          <p:cNvSpPr txBox="1"/>
          <p:nvPr/>
        </p:nvSpPr>
        <p:spPr>
          <a:xfrm>
            <a:off x="3898187" y="4559474"/>
            <a:ext cx="574685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Ik kan zoon alleen goed helpen als moeder ook zorg krijgt voor eigen klachten en overbelasting. Wie van jullie kan moeder in zorg nemen?</a:t>
            </a:r>
          </a:p>
        </p:txBody>
      </p:sp>
    </p:spTree>
    <p:extLst>
      <p:ext uri="{BB962C8B-B14F-4D97-AF65-F5344CB8AC3E}">
        <p14:creationId xmlns:p14="http://schemas.microsoft.com/office/powerpoint/2010/main" val="2629468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jdelijke aanduiding voor inhoud 8">
            <a:extLst>
              <a:ext uri="{FF2B5EF4-FFF2-40B4-BE49-F238E27FC236}">
                <a16:creationId xmlns:a16="http://schemas.microsoft.com/office/drawing/2014/main" id="{ACD673EC-47AE-CD26-3902-A8A0D2BC41A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985688" y="2384886"/>
            <a:ext cx="4698216" cy="2593212"/>
          </a:xfrm>
          <a:prstGeom prst="rect">
            <a:avLst/>
          </a:prstGeom>
        </p:spPr>
      </p:pic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654BAE3B-3459-1078-FBB9-40DD547E8657}"/>
              </a:ext>
            </a:extLst>
          </p:cNvPr>
          <p:cNvPicPr>
            <a:picLocks noGrp="1" noChangeAspect="1"/>
          </p:cNvPicPr>
          <p:nvPr>
            <p:ph sz="half" idx="14"/>
          </p:nvPr>
        </p:nvPicPr>
        <p:blipFill>
          <a:blip r:embed="rId3"/>
          <a:stretch>
            <a:fillRect/>
          </a:stretch>
        </p:blipFill>
        <p:spPr>
          <a:xfrm>
            <a:off x="693944" y="2384886"/>
            <a:ext cx="3637263" cy="2451847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F555B633-3545-5514-49EE-64B8A868A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Kenmerken van gezin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DA3A0371-F9F3-DCDC-445C-C67B4445B1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1207" y="2387299"/>
            <a:ext cx="3418729" cy="2370843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ECBA463C-E102-880F-EA97-5AE637148D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49502" y="3610810"/>
            <a:ext cx="2042337" cy="81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1055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al 11">
            <a:extLst>
              <a:ext uri="{FF2B5EF4-FFF2-40B4-BE49-F238E27FC236}">
                <a16:creationId xmlns:a16="http://schemas.microsoft.com/office/drawing/2014/main" id="{B416542B-F9C7-CB83-7287-51102C98A036}"/>
              </a:ext>
            </a:extLst>
          </p:cNvPr>
          <p:cNvSpPr/>
          <p:nvPr/>
        </p:nvSpPr>
        <p:spPr>
          <a:xfrm>
            <a:off x="1376645" y="3047074"/>
            <a:ext cx="751561" cy="7139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  <p:pic>
        <p:nvPicPr>
          <p:cNvPr id="6" name="Tijdelijke aanduiding voor inhoud 5" descr="Hiërarchie silhouet">
            <a:extLst>
              <a:ext uri="{FF2B5EF4-FFF2-40B4-BE49-F238E27FC236}">
                <a16:creationId xmlns:a16="http://schemas.microsoft.com/office/drawing/2014/main" id="{7200B41C-99EF-A31E-411F-338E6507E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06321" y="1359753"/>
            <a:ext cx="2591866" cy="2591866"/>
          </a:xfr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Casus – inventariseren en verhelderen</a:t>
            </a:r>
          </a:p>
        </p:txBody>
      </p:sp>
      <p:pic>
        <p:nvPicPr>
          <p:cNvPr id="7" name="Graphic 6" descr="Open hand met planten silhouet">
            <a:extLst>
              <a:ext uri="{FF2B5EF4-FFF2-40B4-BE49-F238E27FC236}">
                <a16:creationId xmlns:a16="http://schemas.microsoft.com/office/drawing/2014/main" id="{7EF1BD4B-CC24-C119-9E65-A2A2A52DB2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21929" y="3958127"/>
            <a:ext cx="1188625" cy="1188625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6ACD94CC-28BB-A6E9-E082-BEF602B1A3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5525" y="4136547"/>
            <a:ext cx="914479" cy="914479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B583A8B4-BF34-101A-F26D-BD1421FB95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40306" y="4165186"/>
            <a:ext cx="914479" cy="91447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9D9BE85-FF5F-92B2-93BC-9E1D15C9B1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0947" y="4184692"/>
            <a:ext cx="914479" cy="914479"/>
          </a:xfrm>
          <a:prstGeom prst="rect">
            <a:avLst/>
          </a:prstGeom>
        </p:spPr>
      </p:pic>
      <p:pic>
        <p:nvPicPr>
          <p:cNvPr id="14" name="Graphic 13" descr="Bliksemschicht silhouet">
            <a:extLst>
              <a:ext uri="{FF2B5EF4-FFF2-40B4-BE49-F238E27FC236}">
                <a16:creationId xmlns:a16="http://schemas.microsoft.com/office/drawing/2014/main" id="{7CE83CF9-2289-B003-63BB-930FFF1756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540523" y="1981689"/>
            <a:ext cx="1061731" cy="1061731"/>
          </a:xfrm>
          <a:prstGeom prst="rect">
            <a:avLst/>
          </a:prstGeom>
        </p:spPr>
      </p:pic>
      <p:sp>
        <p:nvSpPr>
          <p:cNvPr id="15" name="Tekstvak 14">
            <a:extLst>
              <a:ext uri="{FF2B5EF4-FFF2-40B4-BE49-F238E27FC236}">
                <a16:creationId xmlns:a16="http://schemas.microsoft.com/office/drawing/2014/main" id="{5040BF9F-2676-4A70-16FC-052D776B9B11}"/>
              </a:ext>
            </a:extLst>
          </p:cNvPr>
          <p:cNvSpPr txBox="1"/>
          <p:nvPr/>
        </p:nvSpPr>
        <p:spPr>
          <a:xfrm>
            <a:off x="902599" y="5101990"/>
            <a:ext cx="200165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rauma in VG</a:t>
            </a:r>
          </a:p>
          <a:p>
            <a:r>
              <a:rPr lang="nl-NL" dirty="0"/>
              <a:t>Moeder overbelast</a:t>
            </a:r>
          </a:p>
          <a:p>
            <a:pPr algn="l"/>
            <a:r>
              <a:rPr lang="nl-NL" dirty="0"/>
              <a:t>Kleine woning</a:t>
            </a:r>
          </a:p>
          <a:p>
            <a:pPr algn="l"/>
            <a:r>
              <a:rPr lang="nl-NL" dirty="0"/>
              <a:t>Geld zorgen</a:t>
            </a:r>
          </a:p>
          <a:p>
            <a:pPr algn="l"/>
            <a:r>
              <a:rPr lang="nl-NL" dirty="0"/>
              <a:t>Schoolprobleem</a:t>
            </a:r>
          </a:p>
          <a:p>
            <a:r>
              <a:rPr lang="nl-NL" dirty="0"/>
              <a:t>Pestverleden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53FB8C7F-9274-81F6-ECE8-315F2D054842}"/>
              </a:ext>
            </a:extLst>
          </p:cNvPr>
          <p:cNvSpPr txBox="1"/>
          <p:nvPr/>
        </p:nvSpPr>
        <p:spPr>
          <a:xfrm>
            <a:off x="7518766" y="5133920"/>
            <a:ext cx="23266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Op elkaars lip</a:t>
            </a:r>
          </a:p>
          <a:p>
            <a:pPr algn="l"/>
            <a:r>
              <a:rPr lang="nl-NL" dirty="0"/>
              <a:t>Steun en opvoedfiguur</a:t>
            </a:r>
          </a:p>
          <a:p>
            <a:pPr algn="l"/>
            <a:r>
              <a:rPr lang="nl-NL" dirty="0"/>
              <a:t>Klein netwerk</a:t>
            </a:r>
          </a:p>
          <a:p>
            <a:r>
              <a:rPr lang="nl-NL" dirty="0"/>
              <a:t>Álleen moeten doen</a:t>
            </a:r>
          </a:p>
          <a:p>
            <a:pPr algn="l"/>
            <a:endParaRPr lang="nl-NL" dirty="0" err="1"/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AE4C3186-D1F3-3DFF-EBA8-1FA17F4BAF5F}"/>
              </a:ext>
            </a:extLst>
          </p:cNvPr>
          <p:cNvSpPr txBox="1"/>
          <p:nvPr/>
        </p:nvSpPr>
        <p:spPr>
          <a:xfrm>
            <a:off x="3069199" y="5155351"/>
            <a:ext cx="211585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Klachten moeder</a:t>
            </a:r>
          </a:p>
          <a:p>
            <a:pPr algn="l"/>
            <a:r>
              <a:rPr lang="nl-NL" dirty="0"/>
              <a:t>Zorgen om </a:t>
            </a:r>
            <a:r>
              <a:rPr lang="nl-NL" dirty="0" err="1"/>
              <a:t>brussen</a:t>
            </a:r>
            <a:endParaRPr lang="nl-NL" dirty="0"/>
          </a:p>
          <a:p>
            <a:pPr algn="l"/>
            <a:endParaRPr lang="nl-NL" dirty="0"/>
          </a:p>
          <a:p>
            <a:pPr algn="l"/>
            <a:endParaRPr lang="nl-NL" dirty="0" err="1"/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970C68FC-C638-AD26-06EA-3C887E3DC1EA}"/>
              </a:ext>
            </a:extLst>
          </p:cNvPr>
          <p:cNvSpPr txBox="1"/>
          <p:nvPr/>
        </p:nvSpPr>
        <p:spPr>
          <a:xfrm>
            <a:off x="5251026" y="5134035"/>
            <a:ext cx="21158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Temperamentvol</a:t>
            </a:r>
          </a:p>
          <a:p>
            <a:pPr algn="l"/>
            <a:r>
              <a:rPr lang="nl-NL" dirty="0"/>
              <a:t>Schaamte</a:t>
            </a:r>
          </a:p>
          <a:p>
            <a:pPr algn="l"/>
            <a:r>
              <a:rPr lang="nl-NL" dirty="0"/>
              <a:t>Schuld</a:t>
            </a:r>
          </a:p>
          <a:p>
            <a:pPr algn="l"/>
            <a:endParaRPr lang="nl-NL" dirty="0"/>
          </a:p>
          <a:p>
            <a:pPr algn="l"/>
            <a:endParaRPr lang="nl-NL" dirty="0"/>
          </a:p>
        </p:txBody>
      </p:sp>
      <p:pic>
        <p:nvPicPr>
          <p:cNvPr id="20" name="Graphic 19" descr="Autogordel silhouet">
            <a:extLst>
              <a:ext uri="{FF2B5EF4-FFF2-40B4-BE49-F238E27FC236}">
                <a16:creationId xmlns:a16="http://schemas.microsoft.com/office/drawing/2014/main" id="{4E8169EC-2F76-D91D-0E07-0635053827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675155" y="2720491"/>
            <a:ext cx="914400" cy="914400"/>
          </a:xfrm>
          <a:prstGeom prst="rect">
            <a:avLst/>
          </a:prstGeom>
        </p:spPr>
      </p:pic>
      <p:pic>
        <p:nvPicPr>
          <p:cNvPr id="22" name="Graphic 21" descr="Mitella silhouet">
            <a:extLst>
              <a:ext uri="{FF2B5EF4-FFF2-40B4-BE49-F238E27FC236}">
                <a16:creationId xmlns:a16="http://schemas.microsoft.com/office/drawing/2014/main" id="{7D6200CC-9F85-C4D6-B989-E564AEC3374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675156" y="1548624"/>
            <a:ext cx="914400" cy="914400"/>
          </a:xfrm>
          <a:prstGeom prst="rect">
            <a:avLst/>
          </a:prstGeom>
        </p:spPr>
      </p:pic>
      <p:sp>
        <p:nvSpPr>
          <p:cNvPr id="23" name="Tekstvak 22">
            <a:extLst>
              <a:ext uri="{FF2B5EF4-FFF2-40B4-BE49-F238E27FC236}">
                <a16:creationId xmlns:a16="http://schemas.microsoft.com/office/drawing/2014/main" id="{0BE4A2B7-873B-5AA5-1817-BE4218EEE289}"/>
              </a:ext>
            </a:extLst>
          </p:cNvPr>
          <p:cNvSpPr txBox="1"/>
          <p:nvPr/>
        </p:nvSpPr>
        <p:spPr>
          <a:xfrm>
            <a:off x="5699497" y="1895458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Geen enkelvoudig probleem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62F1EF4-BD21-14B1-BB8B-F8DC45677CA9}"/>
              </a:ext>
            </a:extLst>
          </p:cNvPr>
          <p:cNvSpPr txBox="1"/>
          <p:nvPr/>
        </p:nvSpPr>
        <p:spPr>
          <a:xfrm>
            <a:off x="5702094" y="2979816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Zorgen om de veiligheid</a:t>
            </a:r>
          </a:p>
        </p:txBody>
      </p:sp>
      <p:cxnSp>
        <p:nvCxnSpPr>
          <p:cNvPr id="26" name="Rechte verbindingslijn 25">
            <a:extLst>
              <a:ext uri="{FF2B5EF4-FFF2-40B4-BE49-F238E27FC236}">
                <a16:creationId xmlns:a16="http://schemas.microsoft.com/office/drawing/2014/main" id="{077FC2D0-5E4D-B271-F809-0C5C7141FAB3}"/>
              </a:ext>
            </a:extLst>
          </p:cNvPr>
          <p:cNvCxnSpPr/>
          <p:nvPr/>
        </p:nvCxnSpPr>
        <p:spPr>
          <a:xfrm>
            <a:off x="902599" y="3930187"/>
            <a:ext cx="9055593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119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600" y="658368"/>
            <a:ext cx="8622402" cy="470898"/>
          </a:xfrm>
        </p:spPr>
        <p:txBody>
          <a:bodyPr>
            <a:normAutofit fontScale="90000"/>
          </a:bodyPr>
          <a:lstStyle/>
          <a:p>
            <a:r>
              <a:rPr lang="nl-NL" sz="3400" dirty="0"/>
              <a:t>2. Geen </a:t>
            </a:r>
            <a:r>
              <a:rPr lang="nl-NL" sz="3400" dirty="0" err="1"/>
              <a:t>one-size</a:t>
            </a:r>
            <a:r>
              <a:rPr lang="nl-NL" sz="3400" dirty="0"/>
              <a:t> fits </a:t>
            </a:r>
            <a:r>
              <a:rPr lang="nl-NL" sz="3400" dirty="0" err="1"/>
              <a:t>all</a:t>
            </a:r>
            <a:endParaRPr lang="nl-NL" sz="3400" dirty="0"/>
          </a:p>
        </p:txBody>
      </p:sp>
      <p:graphicFrame>
        <p:nvGraphicFramePr>
          <p:cNvPr id="3" name="Tabel 5">
            <a:extLst>
              <a:ext uri="{FF2B5EF4-FFF2-40B4-BE49-F238E27FC236}">
                <a16:creationId xmlns:a16="http://schemas.microsoft.com/office/drawing/2014/main" id="{AF8C7A5A-7EA3-7915-5E3A-4A04C8D359BA}"/>
              </a:ext>
            </a:extLst>
          </p:cNvPr>
          <p:cNvGraphicFramePr>
            <a:graphicFrameLocks noGrp="1"/>
          </p:cNvGraphicFramePr>
          <p:nvPr/>
        </p:nvGraphicFramePr>
        <p:xfrm>
          <a:off x="824229" y="2227415"/>
          <a:ext cx="9554100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801">
                  <a:extLst>
                    <a:ext uri="{9D8B030D-6E8A-4147-A177-3AD203B41FA5}">
                      <a16:colId xmlns:a16="http://schemas.microsoft.com/office/drawing/2014/main" val="1545580547"/>
                    </a:ext>
                  </a:extLst>
                </a:gridCol>
                <a:gridCol w="2035101">
                  <a:extLst>
                    <a:ext uri="{9D8B030D-6E8A-4147-A177-3AD203B41FA5}">
                      <a16:colId xmlns:a16="http://schemas.microsoft.com/office/drawing/2014/main" val="2119374845"/>
                    </a:ext>
                  </a:extLst>
                </a:gridCol>
                <a:gridCol w="2757485">
                  <a:extLst>
                    <a:ext uri="{9D8B030D-6E8A-4147-A177-3AD203B41FA5}">
                      <a16:colId xmlns:a16="http://schemas.microsoft.com/office/drawing/2014/main" val="2886043703"/>
                    </a:ext>
                  </a:extLst>
                </a:gridCol>
                <a:gridCol w="3682713">
                  <a:extLst>
                    <a:ext uri="{9D8B030D-6E8A-4147-A177-3AD203B41FA5}">
                      <a16:colId xmlns:a16="http://schemas.microsoft.com/office/drawing/2014/main" val="1316817693"/>
                    </a:ext>
                  </a:extLst>
                </a:gridCol>
              </a:tblGrid>
              <a:tr h="339615">
                <a:tc>
                  <a:txBody>
                    <a:bodyPr/>
                    <a:lstStyle/>
                    <a:p>
                      <a:r>
                        <a:rPr lang="nl-NL" dirty="0"/>
                        <a:t>Vra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Soort hulp &amp; volgordelijkheid bepal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Samenwerking verbeteren tussen de hulpverle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Vraag voor passende hulp ouder én ki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2641996"/>
                  </a:ext>
                </a:extLst>
              </a:tr>
              <a:tr h="1466046">
                <a:tc>
                  <a:txBody>
                    <a:bodyPr/>
                    <a:lstStyle/>
                    <a:p>
                      <a:r>
                        <a:rPr lang="nl-NL" dirty="0"/>
                        <a:t>Adv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Hulpvraag verhelderen, normaliseren, </a:t>
                      </a:r>
                      <a:r>
                        <a:rPr lang="nl-NL" dirty="0" err="1"/>
                        <a:t>ontschuldigen</a:t>
                      </a:r>
                      <a:r>
                        <a:rPr lang="nl-NL" dirty="0"/>
                        <a:t> &amp; aansluiten</a:t>
                      </a:r>
                    </a:p>
                    <a:p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olverdeling verhelderen:</a:t>
                      </a:r>
                    </a:p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Breder kijken over de domeinen heen, prioriteren van zo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Rolverdeling verhelderen:</a:t>
                      </a:r>
                    </a:p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dirty="0"/>
                        <a:t>Buurtgerichte (ondersteunende) zorg tot toeleiding naar S-GG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9761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30188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al 11">
            <a:extLst>
              <a:ext uri="{FF2B5EF4-FFF2-40B4-BE49-F238E27FC236}">
                <a16:creationId xmlns:a16="http://schemas.microsoft.com/office/drawing/2014/main" id="{B416542B-F9C7-CB83-7287-51102C98A036}"/>
              </a:ext>
            </a:extLst>
          </p:cNvPr>
          <p:cNvSpPr/>
          <p:nvPr/>
        </p:nvSpPr>
        <p:spPr>
          <a:xfrm>
            <a:off x="1376645" y="3047074"/>
            <a:ext cx="751561" cy="7139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  <p:pic>
        <p:nvPicPr>
          <p:cNvPr id="6" name="Tijdelijke aanduiding voor inhoud 5" descr="Hiërarchie silhouet">
            <a:extLst>
              <a:ext uri="{FF2B5EF4-FFF2-40B4-BE49-F238E27FC236}">
                <a16:creationId xmlns:a16="http://schemas.microsoft.com/office/drawing/2014/main" id="{7200B41C-99EF-A31E-411F-338E6507E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06321" y="1359753"/>
            <a:ext cx="2591866" cy="2591866"/>
          </a:xfr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599" y="658368"/>
            <a:ext cx="9475729" cy="997196"/>
          </a:xfrm>
        </p:spPr>
        <p:txBody>
          <a:bodyPr>
            <a:normAutofit fontScale="90000"/>
          </a:bodyPr>
          <a:lstStyle/>
          <a:p>
            <a:r>
              <a:rPr lang="nl-NL" dirty="0"/>
              <a:t>Casus – vertragen, verdragen en prioriteren</a:t>
            </a:r>
          </a:p>
        </p:txBody>
      </p:sp>
      <p:pic>
        <p:nvPicPr>
          <p:cNvPr id="14" name="Graphic 13" descr="Bliksemschicht silhouet">
            <a:extLst>
              <a:ext uri="{FF2B5EF4-FFF2-40B4-BE49-F238E27FC236}">
                <a16:creationId xmlns:a16="http://schemas.microsoft.com/office/drawing/2014/main" id="{7CE83CF9-2289-B003-63BB-930FFF1756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540523" y="1981689"/>
            <a:ext cx="1061731" cy="1061731"/>
          </a:xfrm>
          <a:prstGeom prst="rect">
            <a:avLst/>
          </a:prstGeom>
        </p:spPr>
      </p:pic>
      <p:pic>
        <p:nvPicPr>
          <p:cNvPr id="20" name="Graphic 19" descr="Autogordel silhouet">
            <a:extLst>
              <a:ext uri="{FF2B5EF4-FFF2-40B4-BE49-F238E27FC236}">
                <a16:creationId xmlns:a16="http://schemas.microsoft.com/office/drawing/2014/main" id="{4E8169EC-2F76-D91D-0E07-0635053827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75155" y="2720491"/>
            <a:ext cx="914400" cy="914400"/>
          </a:xfrm>
          <a:prstGeom prst="rect">
            <a:avLst/>
          </a:prstGeom>
        </p:spPr>
      </p:pic>
      <p:pic>
        <p:nvPicPr>
          <p:cNvPr id="22" name="Graphic 21" descr="Mitella silhouet">
            <a:extLst>
              <a:ext uri="{FF2B5EF4-FFF2-40B4-BE49-F238E27FC236}">
                <a16:creationId xmlns:a16="http://schemas.microsoft.com/office/drawing/2014/main" id="{7D6200CC-9F85-C4D6-B989-E564AEC337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75156" y="1548624"/>
            <a:ext cx="914400" cy="914400"/>
          </a:xfrm>
          <a:prstGeom prst="rect">
            <a:avLst/>
          </a:prstGeom>
        </p:spPr>
      </p:pic>
      <p:sp>
        <p:nvSpPr>
          <p:cNvPr id="23" name="Tekstvak 22">
            <a:extLst>
              <a:ext uri="{FF2B5EF4-FFF2-40B4-BE49-F238E27FC236}">
                <a16:creationId xmlns:a16="http://schemas.microsoft.com/office/drawing/2014/main" id="{0BE4A2B7-873B-5AA5-1817-BE4218EEE289}"/>
              </a:ext>
            </a:extLst>
          </p:cNvPr>
          <p:cNvSpPr txBox="1"/>
          <p:nvPr/>
        </p:nvSpPr>
        <p:spPr>
          <a:xfrm>
            <a:off x="5699497" y="1895458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Geen enkelvoudig probleem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62F1EF4-BD21-14B1-BB8B-F8DC45677CA9}"/>
              </a:ext>
            </a:extLst>
          </p:cNvPr>
          <p:cNvSpPr txBox="1"/>
          <p:nvPr/>
        </p:nvSpPr>
        <p:spPr>
          <a:xfrm>
            <a:off x="5702094" y="2979816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Zorgen om de veiligheid</a:t>
            </a:r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57FDB08E-EE34-981C-4A93-34AAF014E50E}"/>
              </a:ext>
            </a:extLst>
          </p:cNvPr>
          <p:cNvSpPr/>
          <p:nvPr/>
        </p:nvSpPr>
        <p:spPr>
          <a:xfrm>
            <a:off x="5232206" y="4935813"/>
            <a:ext cx="2326692" cy="131186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  <p:pic>
        <p:nvPicPr>
          <p:cNvPr id="32" name="Graphic 31" descr="Open hand met planten silhouet">
            <a:extLst>
              <a:ext uri="{FF2B5EF4-FFF2-40B4-BE49-F238E27FC236}">
                <a16:creationId xmlns:a16="http://schemas.microsoft.com/office/drawing/2014/main" id="{7C0A32DA-ABCB-39B2-B177-0CDA43E43E5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275040" y="4008691"/>
            <a:ext cx="1188625" cy="1188625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60176481-1FCE-711C-E0D7-4128AC1280A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2759" y="4121497"/>
            <a:ext cx="914479" cy="914479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2A760FED-D517-8BBD-69C7-1A7A37CF71B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37954" y="4121498"/>
            <a:ext cx="914479" cy="914479"/>
          </a:xfrm>
          <a:prstGeom prst="rect">
            <a:avLst/>
          </a:prstGeom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70E69751-A4DA-EEA8-A722-D9EF25BE2CF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592350" y="4142180"/>
            <a:ext cx="914479" cy="914479"/>
          </a:xfrm>
          <a:prstGeom prst="rect">
            <a:avLst/>
          </a:prstGeom>
        </p:spPr>
      </p:pic>
      <p:sp>
        <p:nvSpPr>
          <p:cNvPr id="36" name="Tekstvak 35">
            <a:extLst>
              <a:ext uri="{FF2B5EF4-FFF2-40B4-BE49-F238E27FC236}">
                <a16:creationId xmlns:a16="http://schemas.microsoft.com/office/drawing/2014/main" id="{62B3E69A-BF33-CB6C-CE34-5D34A2721948}"/>
              </a:ext>
            </a:extLst>
          </p:cNvPr>
          <p:cNvSpPr txBox="1"/>
          <p:nvPr/>
        </p:nvSpPr>
        <p:spPr>
          <a:xfrm>
            <a:off x="1061758" y="5176783"/>
            <a:ext cx="200165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rauma in VG</a:t>
            </a:r>
          </a:p>
          <a:p>
            <a:r>
              <a:rPr lang="nl-NL" dirty="0"/>
              <a:t>Moeder overbelast</a:t>
            </a:r>
          </a:p>
          <a:p>
            <a:pPr algn="l"/>
            <a:r>
              <a:rPr lang="nl-NL" dirty="0"/>
              <a:t>Kleine woning</a:t>
            </a:r>
          </a:p>
          <a:p>
            <a:pPr algn="l"/>
            <a:r>
              <a:rPr lang="nl-NL" dirty="0"/>
              <a:t>Geld zorgen</a:t>
            </a:r>
          </a:p>
          <a:p>
            <a:pPr algn="l"/>
            <a:r>
              <a:rPr lang="nl-NL" dirty="0"/>
              <a:t>Schoolprobleem</a:t>
            </a:r>
          </a:p>
          <a:p>
            <a:r>
              <a:rPr lang="nl-NL" dirty="0"/>
              <a:t>Pestverleden</a:t>
            </a:r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81676B02-D7A3-6AD7-E042-498328C4136E}"/>
              </a:ext>
            </a:extLst>
          </p:cNvPr>
          <p:cNvSpPr txBox="1"/>
          <p:nvPr/>
        </p:nvSpPr>
        <p:spPr>
          <a:xfrm>
            <a:off x="7684220" y="5147144"/>
            <a:ext cx="23266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Op elkaars lip</a:t>
            </a:r>
          </a:p>
          <a:p>
            <a:pPr algn="l"/>
            <a:r>
              <a:rPr lang="nl-NL" dirty="0"/>
              <a:t>Steun en opvoedfiguur</a:t>
            </a:r>
          </a:p>
          <a:p>
            <a:pPr algn="l"/>
            <a:r>
              <a:rPr lang="nl-NL" dirty="0"/>
              <a:t>Klein netwerk</a:t>
            </a:r>
          </a:p>
          <a:p>
            <a:r>
              <a:rPr lang="nl-NL" dirty="0"/>
              <a:t>Álleen moeten doen</a:t>
            </a:r>
          </a:p>
          <a:p>
            <a:pPr algn="l"/>
            <a:endParaRPr lang="nl-NL" dirty="0" err="1"/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0C812E63-2A14-DA41-1487-D211FE8ED90D}"/>
              </a:ext>
            </a:extLst>
          </p:cNvPr>
          <p:cNvSpPr txBox="1"/>
          <p:nvPr/>
        </p:nvSpPr>
        <p:spPr>
          <a:xfrm>
            <a:off x="3206864" y="5176783"/>
            <a:ext cx="21158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Klachten zelf</a:t>
            </a:r>
          </a:p>
          <a:p>
            <a:pPr algn="l"/>
            <a:r>
              <a:rPr lang="nl-NL" dirty="0"/>
              <a:t>Klachten moeder</a:t>
            </a:r>
          </a:p>
          <a:p>
            <a:pPr algn="l"/>
            <a:r>
              <a:rPr lang="nl-NL" dirty="0"/>
              <a:t>Zorgen om </a:t>
            </a:r>
            <a:r>
              <a:rPr lang="nl-NL" dirty="0" err="1"/>
              <a:t>brussen</a:t>
            </a:r>
            <a:endParaRPr lang="nl-NL" dirty="0"/>
          </a:p>
          <a:p>
            <a:pPr algn="l"/>
            <a:endParaRPr lang="nl-NL" dirty="0"/>
          </a:p>
          <a:p>
            <a:pPr algn="l"/>
            <a:endParaRPr lang="nl-NL" dirty="0" err="1"/>
          </a:p>
        </p:txBody>
      </p:sp>
      <p:sp>
        <p:nvSpPr>
          <p:cNvPr id="39" name="Tekstvak 38">
            <a:extLst>
              <a:ext uri="{FF2B5EF4-FFF2-40B4-BE49-F238E27FC236}">
                <a16:creationId xmlns:a16="http://schemas.microsoft.com/office/drawing/2014/main" id="{2379982D-B859-DDA4-B1EC-4105D3E8F663}"/>
              </a:ext>
            </a:extLst>
          </p:cNvPr>
          <p:cNvSpPr txBox="1"/>
          <p:nvPr/>
        </p:nvSpPr>
        <p:spPr>
          <a:xfrm>
            <a:off x="5403426" y="5147144"/>
            <a:ext cx="21158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Temperamentvol</a:t>
            </a:r>
          </a:p>
          <a:p>
            <a:pPr algn="l"/>
            <a:r>
              <a:rPr lang="nl-NL" dirty="0"/>
              <a:t>Schaamte</a:t>
            </a:r>
          </a:p>
          <a:p>
            <a:pPr algn="l"/>
            <a:r>
              <a:rPr lang="nl-NL" dirty="0"/>
              <a:t>Schuld</a:t>
            </a:r>
          </a:p>
          <a:p>
            <a:pPr algn="l"/>
            <a:endParaRPr lang="nl-NL" dirty="0"/>
          </a:p>
          <a:p>
            <a:pPr algn="l"/>
            <a:endParaRPr lang="nl-NL" dirty="0"/>
          </a:p>
        </p:txBody>
      </p: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FF3F5E22-2713-DADE-F66A-3802BE4EF125}"/>
              </a:ext>
            </a:extLst>
          </p:cNvPr>
          <p:cNvCxnSpPr/>
          <p:nvPr/>
        </p:nvCxnSpPr>
        <p:spPr>
          <a:xfrm>
            <a:off x="1061758" y="3951619"/>
            <a:ext cx="9055593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al 40">
            <a:extLst>
              <a:ext uri="{FF2B5EF4-FFF2-40B4-BE49-F238E27FC236}">
                <a16:creationId xmlns:a16="http://schemas.microsoft.com/office/drawing/2014/main" id="{784E0AD7-AF94-A3FB-F80C-8F349D06079C}"/>
              </a:ext>
            </a:extLst>
          </p:cNvPr>
          <p:cNvSpPr/>
          <p:nvPr/>
        </p:nvSpPr>
        <p:spPr>
          <a:xfrm>
            <a:off x="657773" y="5119711"/>
            <a:ext cx="2326692" cy="16909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</p:spTree>
    <p:extLst>
      <p:ext uri="{BB962C8B-B14F-4D97-AF65-F5344CB8AC3E}">
        <p14:creationId xmlns:p14="http://schemas.microsoft.com/office/powerpoint/2010/main" val="19768469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4820A10A-1176-EE92-28A6-5D7541FC73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Nodig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Informatie inwinnen bij huisarts, eerdere hulpverlening en het gezin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Cultuursensitief werken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Netwerk betrekken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Aandacht richten op positieve (veer)kracht en wat wel lukt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l-NL" sz="1600" b="1" i="0" u="none" strike="noStrike" kern="1200" dirty="0">
                <a:solidFill>
                  <a:srgbClr val="FFFFFF"/>
                </a:solidFill>
                <a:effectLst/>
                <a:latin typeface="IBM Plex Sans" panose="020B0503050203000203" pitchFamily="34" charset="0"/>
              </a:rPr>
              <a:t>Samen (blijven) nadenken</a:t>
            </a:r>
            <a:endParaRPr lang="nl-NL" sz="1600" b="0" i="0" u="none" strike="noStrik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600" y="658368"/>
            <a:ext cx="8622402" cy="470898"/>
          </a:xfrm>
        </p:spPr>
        <p:txBody>
          <a:bodyPr>
            <a:normAutofit fontScale="90000"/>
          </a:bodyPr>
          <a:lstStyle/>
          <a:p>
            <a:r>
              <a:rPr lang="nl-NL" sz="3400" dirty="0"/>
              <a:t>3. Samen doen we het anders</a:t>
            </a:r>
          </a:p>
        </p:txBody>
      </p:sp>
      <p:graphicFrame>
        <p:nvGraphicFramePr>
          <p:cNvPr id="6" name="Tabel 5">
            <a:extLst>
              <a:ext uri="{FF2B5EF4-FFF2-40B4-BE49-F238E27FC236}">
                <a16:creationId xmlns:a16="http://schemas.microsoft.com/office/drawing/2014/main" id="{3C16258F-C47C-166B-7F25-D5F09E220A3A}"/>
              </a:ext>
            </a:extLst>
          </p:cNvPr>
          <p:cNvGraphicFramePr>
            <a:graphicFrameLocks noGrp="1"/>
          </p:cNvGraphicFramePr>
          <p:nvPr/>
        </p:nvGraphicFramePr>
        <p:xfrm>
          <a:off x="824229" y="1563960"/>
          <a:ext cx="9554100" cy="45903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8801">
                  <a:extLst>
                    <a:ext uri="{9D8B030D-6E8A-4147-A177-3AD203B41FA5}">
                      <a16:colId xmlns:a16="http://schemas.microsoft.com/office/drawing/2014/main" val="873102813"/>
                    </a:ext>
                  </a:extLst>
                </a:gridCol>
                <a:gridCol w="8475299">
                  <a:extLst>
                    <a:ext uri="{9D8B030D-6E8A-4147-A177-3AD203B41FA5}">
                      <a16:colId xmlns:a16="http://schemas.microsoft.com/office/drawing/2014/main" val="984030378"/>
                    </a:ext>
                  </a:extLst>
                </a:gridCol>
              </a:tblGrid>
              <a:tr h="1741302">
                <a:tc>
                  <a:txBody>
                    <a:bodyPr/>
                    <a:lstStyle/>
                    <a:p>
                      <a:r>
                        <a:rPr lang="nl-NL" dirty="0"/>
                        <a:t>Sa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Informatie inwinnen bij huisarts, eerdere hulpverlening en het gezin</a:t>
                      </a:r>
                    </a:p>
                    <a:p>
                      <a:r>
                        <a:rPr lang="nl-NL" dirty="0"/>
                        <a:t>Cultuursensitief werken</a:t>
                      </a:r>
                    </a:p>
                    <a:p>
                      <a:r>
                        <a:rPr lang="nl-NL" dirty="0"/>
                        <a:t>Netwerk betrekken</a:t>
                      </a:r>
                    </a:p>
                    <a:p>
                      <a:r>
                        <a:rPr lang="nl-NL" dirty="0"/>
                        <a:t>Aandacht richten op positieve (veer)kracht en wat wel lukt</a:t>
                      </a:r>
                    </a:p>
                    <a:p>
                      <a:r>
                        <a:rPr lang="nl-NL" dirty="0"/>
                        <a:t>Samen (blijven) nadenken over wat wél en niet kan</a:t>
                      </a:r>
                    </a:p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313418"/>
                  </a:ext>
                </a:extLst>
              </a:tr>
              <a:tr h="2849045">
                <a:tc>
                  <a:txBody>
                    <a:bodyPr/>
                    <a:lstStyle/>
                    <a:p>
                      <a:r>
                        <a:rPr lang="nl-NL" sz="1600" dirty="0"/>
                        <a:t>Richting verand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256079"/>
                  </a:ext>
                </a:extLst>
              </a:tr>
            </a:tbl>
          </a:graphicData>
        </a:graphic>
      </p:graphicFrame>
      <p:pic>
        <p:nvPicPr>
          <p:cNvPr id="19" name="Graphic 18" descr="Geen teken met effen opvulling">
            <a:extLst>
              <a:ext uri="{FF2B5EF4-FFF2-40B4-BE49-F238E27FC236}">
                <a16:creationId xmlns:a16="http://schemas.microsoft.com/office/drawing/2014/main" id="{A28D5972-3BC2-B955-FA06-A33BDB8041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545948" y="5158347"/>
            <a:ext cx="914400" cy="914400"/>
          </a:xfrm>
          <a:prstGeom prst="rect">
            <a:avLst/>
          </a:prstGeom>
        </p:spPr>
      </p:pic>
      <p:pic>
        <p:nvPicPr>
          <p:cNvPr id="21" name="Graphic 20" descr="Verkeerslicht met effen opvulling">
            <a:extLst>
              <a:ext uri="{FF2B5EF4-FFF2-40B4-BE49-F238E27FC236}">
                <a16:creationId xmlns:a16="http://schemas.microsoft.com/office/drawing/2014/main" id="{418FA610-9288-15B1-C6FA-2E75E2B02B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099913" y="5146668"/>
            <a:ext cx="914400" cy="914400"/>
          </a:xfrm>
          <a:prstGeom prst="rect">
            <a:avLst/>
          </a:prstGeom>
        </p:spPr>
      </p:pic>
      <p:pic>
        <p:nvPicPr>
          <p:cNvPr id="23" name="Graphic 22" descr="Proost met effen opvulling">
            <a:extLst>
              <a:ext uri="{FF2B5EF4-FFF2-40B4-BE49-F238E27FC236}">
                <a16:creationId xmlns:a16="http://schemas.microsoft.com/office/drawing/2014/main" id="{2EF7B244-AE42-A662-C8EE-8AC3526F6B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570716" y="5146668"/>
            <a:ext cx="914400" cy="914400"/>
          </a:xfrm>
          <a:prstGeom prst="rect">
            <a:avLst/>
          </a:prstGeom>
        </p:spPr>
      </p:pic>
      <p:pic>
        <p:nvPicPr>
          <p:cNvPr id="25" name="Graphic 24" descr="Draaiplateau silhouet">
            <a:extLst>
              <a:ext uri="{FF2B5EF4-FFF2-40B4-BE49-F238E27FC236}">
                <a16:creationId xmlns:a16="http://schemas.microsoft.com/office/drawing/2014/main" id="{879AE293-EECC-819D-9280-F082687720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646565" y="3345361"/>
            <a:ext cx="914400" cy="914400"/>
          </a:xfrm>
          <a:prstGeom prst="rect">
            <a:avLst/>
          </a:prstGeom>
        </p:spPr>
      </p:pic>
      <p:pic>
        <p:nvPicPr>
          <p:cNvPr id="27" name="Graphic 26" descr="Pijl omlaag silhouet">
            <a:extLst>
              <a:ext uri="{FF2B5EF4-FFF2-40B4-BE49-F238E27FC236}">
                <a16:creationId xmlns:a16="http://schemas.microsoft.com/office/drawing/2014/main" id="{A3B8FD08-BA0A-F176-8EB1-D984B1A33E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646565" y="4208026"/>
            <a:ext cx="914400" cy="914400"/>
          </a:xfrm>
          <a:prstGeom prst="rect">
            <a:avLst/>
          </a:prstGeom>
        </p:spPr>
      </p:pic>
      <p:pic>
        <p:nvPicPr>
          <p:cNvPr id="29" name="Graphic 28" descr="Aspiratie silhouet">
            <a:extLst>
              <a:ext uri="{FF2B5EF4-FFF2-40B4-BE49-F238E27FC236}">
                <a16:creationId xmlns:a16="http://schemas.microsoft.com/office/drawing/2014/main" id="{FBBD4678-AEF4-FC74-D304-AD4D6CF89F0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475989" y="3345361"/>
            <a:ext cx="914400" cy="914400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C004EF62-BDE6-BB6C-C0AE-D1D364A2B4D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29225" y="4311444"/>
            <a:ext cx="914479" cy="914479"/>
          </a:xfrm>
          <a:prstGeom prst="rect">
            <a:avLst/>
          </a:prstGeom>
        </p:spPr>
      </p:pic>
      <p:pic>
        <p:nvPicPr>
          <p:cNvPr id="32" name="Graphic 31" descr="Verdwaald silhouet">
            <a:extLst>
              <a:ext uri="{FF2B5EF4-FFF2-40B4-BE49-F238E27FC236}">
                <a16:creationId xmlns:a16="http://schemas.microsoft.com/office/drawing/2014/main" id="{4C5FB650-A4D3-4F3E-9017-DF368EF5549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5099913" y="3389654"/>
            <a:ext cx="914400" cy="914400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755BD68A-D4CE-7065-96F1-3372A03BF16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83027" y="4240226"/>
            <a:ext cx="914479" cy="914479"/>
          </a:xfrm>
          <a:prstGeom prst="rect">
            <a:avLst/>
          </a:prstGeom>
        </p:spPr>
      </p:pic>
      <p:sp>
        <p:nvSpPr>
          <p:cNvPr id="34" name="Tekstvak 33">
            <a:extLst>
              <a:ext uri="{FF2B5EF4-FFF2-40B4-BE49-F238E27FC236}">
                <a16:creationId xmlns:a16="http://schemas.microsoft.com/office/drawing/2014/main" id="{4C0CACD7-658D-D271-AF31-55946EAA5DE0}"/>
              </a:ext>
            </a:extLst>
          </p:cNvPr>
          <p:cNvSpPr txBox="1"/>
          <p:nvPr/>
        </p:nvSpPr>
        <p:spPr>
          <a:xfrm>
            <a:off x="3716323" y="3429000"/>
            <a:ext cx="123046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400" dirty="0"/>
              <a:t>Steeds hetzelfde liedje ‘als jij dan ik’</a:t>
            </a:r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r>
              <a:rPr lang="nl-NL" sz="1400" dirty="0"/>
              <a:t>Samen beslissen en koers houden</a:t>
            </a:r>
          </a:p>
        </p:txBody>
      </p:sp>
      <p:sp>
        <p:nvSpPr>
          <p:cNvPr id="36" name="Tekstvak 35">
            <a:extLst>
              <a:ext uri="{FF2B5EF4-FFF2-40B4-BE49-F238E27FC236}">
                <a16:creationId xmlns:a16="http://schemas.microsoft.com/office/drawing/2014/main" id="{CCD00F15-655B-A92C-8DA3-108FF4AD8DF3}"/>
              </a:ext>
            </a:extLst>
          </p:cNvPr>
          <p:cNvSpPr txBox="1"/>
          <p:nvPr/>
        </p:nvSpPr>
        <p:spPr>
          <a:xfrm>
            <a:off x="6149809" y="3429000"/>
            <a:ext cx="123046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Zoeken naar een oplossing waarvan probleem nog niet helder is</a:t>
            </a:r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r>
              <a:rPr lang="nl-NL" sz="1400" dirty="0"/>
              <a:t>Samen beslissen wat wél kan/moet</a:t>
            </a:r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E24188E4-D625-AAE4-FD58-448317DE8626}"/>
              </a:ext>
            </a:extLst>
          </p:cNvPr>
          <p:cNvSpPr txBox="1"/>
          <p:nvPr/>
        </p:nvSpPr>
        <p:spPr>
          <a:xfrm>
            <a:off x="8575504" y="3389654"/>
            <a:ext cx="123046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1400" dirty="0"/>
              <a:t>Meer is niet altijd beter en haalbaar</a:t>
            </a:r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endParaRPr lang="nl-NL" sz="1400" dirty="0"/>
          </a:p>
          <a:p>
            <a:pPr algn="l"/>
            <a:r>
              <a:rPr lang="nl-NL" sz="1400" dirty="0"/>
              <a:t>Samen beslissen wat niét kan/ moet</a:t>
            </a:r>
          </a:p>
        </p:txBody>
      </p:sp>
    </p:spTree>
    <p:extLst>
      <p:ext uri="{BB962C8B-B14F-4D97-AF65-F5344CB8AC3E}">
        <p14:creationId xmlns:p14="http://schemas.microsoft.com/office/powerpoint/2010/main" val="3855531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al 11">
            <a:extLst>
              <a:ext uri="{FF2B5EF4-FFF2-40B4-BE49-F238E27FC236}">
                <a16:creationId xmlns:a16="http://schemas.microsoft.com/office/drawing/2014/main" id="{B416542B-F9C7-CB83-7287-51102C98A036}"/>
              </a:ext>
            </a:extLst>
          </p:cNvPr>
          <p:cNvSpPr/>
          <p:nvPr/>
        </p:nvSpPr>
        <p:spPr>
          <a:xfrm>
            <a:off x="1376645" y="3047074"/>
            <a:ext cx="751561" cy="71398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  <p:pic>
        <p:nvPicPr>
          <p:cNvPr id="6" name="Tijdelijke aanduiding voor inhoud 5" descr="Hiërarchie silhouet">
            <a:extLst>
              <a:ext uri="{FF2B5EF4-FFF2-40B4-BE49-F238E27FC236}">
                <a16:creationId xmlns:a16="http://schemas.microsoft.com/office/drawing/2014/main" id="{7200B41C-99EF-A31E-411F-338E6507EA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06321" y="1359753"/>
            <a:ext cx="2591866" cy="2591866"/>
          </a:xfr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33A9463-2B5B-428F-4D54-F6389EE6F7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8329" y="4047620"/>
            <a:ext cx="1594596" cy="1792022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4EDBF13-3F66-DE92-1B40-0709D5E72A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Casus – prioriteren en hulp bieden</a:t>
            </a:r>
          </a:p>
        </p:txBody>
      </p:sp>
      <p:pic>
        <p:nvPicPr>
          <p:cNvPr id="14" name="Graphic 13" descr="Bliksemschicht silhouet">
            <a:extLst>
              <a:ext uri="{FF2B5EF4-FFF2-40B4-BE49-F238E27FC236}">
                <a16:creationId xmlns:a16="http://schemas.microsoft.com/office/drawing/2014/main" id="{7CE83CF9-2289-B003-63BB-930FFF1756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540523" y="1981689"/>
            <a:ext cx="1061731" cy="1061731"/>
          </a:xfrm>
          <a:prstGeom prst="rect">
            <a:avLst/>
          </a:prstGeom>
        </p:spPr>
      </p:pic>
      <p:pic>
        <p:nvPicPr>
          <p:cNvPr id="20" name="Graphic 19" descr="Autogordel silhouet">
            <a:extLst>
              <a:ext uri="{FF2B5EF4-FFF2-40B4-BE49-F238E27FC236}">
                <a16:creationId xmlns:a16="http://schemas.microsoft.com/office/drawing/2014/main" id="{4E8169EC-2F76-D91D-0E07-0635053827F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675155" y="2720491"/>
            <a:ext cx="914400" cy="914400"/>
          </a:xfrm>
          <a:prstGeom prst="rect">
            <a:avLst/>
          </a:prstGeom>
        </p:spPr>
      </p:pic>
      <p:pic>
        <p:nvPicPr>
          <p:cNvPr id="22" name="Graphic 21" descr="Mitella silhouet">
            <a:extLst>
              <a:ext uri="{FF2B5EF4-FFF2-40B4-BE49-F238E27FC236}">
                <a16:creationId xmlns:a16="http://schemas.microsoft.com/office/drawing/2014/main" id="{7D6200CC-9F85-C4D6-B989-E564AEC337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675156" y="1548624"/>
            <a:ext cx="914400" cy="914400"/>
          </a:xfrm>
          <a:prstGeom prst="rect">
            <a:avLst/>
          </a:prstGeom>
        </p:spPr>
      </p:pic>
      <p:sp>
        <p:nvSpPr>
          <p:cNvPr id="23" name="Tekstvak 22">
            <a:extLst>
              <a:ext uri="{FF2B5EF4-FFF2-40B4-BE49-F238E27FC236}">
                <a16:creationId xmlns:a16="http://schemas.microsoft.com/office/drawing/2014/main" id="{0BE4A2B7-873B-5AA5-1817-BE4218EEE289}"/>
              </a:ext>
            </a:extLst>
          </p:cNvPr>
          <p:cNvSpPr txBox="1"/>
          <p:nvPr/>
        </p:nvSpPr>
        <p:spPr>
          <a:xfrm>
            <a:off x="5699497" y="1895458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Geen enkelvoudig probleem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462F1EF4-BD21-14B1-BB8B-F8DC45677CA9}"/>
              </a:ext>
            </a:extLst>
          </p:cNvPr>
          <p:cNvSpPr txBox="1"/>
          <p:nvPr/>
        </p:nvSpPr>
        <p:spPr>
          <a:xfrm>
            <a:off x="5702094" y="2979816"/>
            <a:ext cx="29405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Zorgen om de veiligheid</a:t>
            </a:r>
          </a:p>
        </p:txBody>
      </p:sp>
      <p:pic>
        <p:nvPicPr>
          <p:cNvPr id="3" name="Graphic 2" descr="Open hand met planten silhouet">
            <a:extLst>
              <a:ext uri="{FF2B5EF4-FFF2-40B4-BE49-F238E27FC236}">
                <a16:creationId xmlns:a16="http://schemas.microsoft.com/office/drawing/2014/main" id="{8B737739-3E12-02EA-8447-8984F9419E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21929" y="3958127"/>
            <a:ext cx="1188625" cy="1188625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E293DE23-71AF-1CFC-B987-3C0858415FA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25525" y="4136547"/>
            <a:ext cx="914479" cy="914479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EEACDCED-7F61-89B7-4130-B94F9CEFBF9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40306" y="4165186"/>
            <a:ext cx="914479" cy="914479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E8DD873C-C369-0472-8583-A42149329DF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40947" y="4184692"/>
            <a:ext cx="914479" cy="914479"/>
          </a:xfrm>
          <a:prstGeom prst="rect">
            <a:avLst/>
          </a:prstGeom>
        </p:spPr>
      </p:pic>
      <p:sp>
        <p:nvSpPr>
          <p:cNvPr id="27" name="Tekstvak 26">
            <a:extLst>
              <a:ext uri="{FF2B5EF4-FFF2-40B4-BE49-F238E27FC236}">
                <a16:creationId xmlns:a16="http://schemas.microsoft.com/office/drawing/2014/main" id="{A1156F7B-1B7E-FC74-C3A9-B61FC7CD2D74}"/>
              </a:ext>
            </a:extLst>
          </p:cNvPr>
          <p:cNvSpPr txBox="1"/>
          <p:nvPr/>
        </p:nvSpPr>
        <p:spPr>
          <a:xfrm>
            <a:off x="902599" y="5101990"/>
            <a:ext cx="200165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rauma in VG</a:t>
            </a:r>
          </a:p>
          <a:p>
            <a:r>
              <a:rPr lang="nl-NL" dirty="0"/>
              <a:t>Moeder overbelast</a:t>
            </a:r>
          </a:p>
          <a:p>
            <a:pPr algn="l"/>
            <a:r>
              <a:rPr lang="nl-NL" dirty="0"/>
              <a:t>Kleine woning</a:t>
            </a:r>
          </a:p>
          <a:p>
            <a:pPr algn="l"/>
            <a:r>
              <a:rPr lang="nl-NL" dirty="0"/>
              <a:t>Geld zorgen</a:t>
            </a:r>
          </a:p>
          <a:p>
            <a:pPr algn="l"/>
            <a:r>
              <a:rPr lang="nl-NL" dirty="0"/>
              <a:t>Schoolprobleem</a:t>
            </a:r>
          </a:p>
          <a:p>
            <a:r>
              <a:rPr lang="nl-NL" dirty="0"/>
              <a:t>Pestverleden</a:t>
            </a:r>
          </a:p>
        </p:txBody>
      </p:sp>
      <p:sp>
        <p:nvSpPr>
          <p:cNvPr id="28" name="Tekstvak 27">
            <a:extLst>
              <a:ext uri="{FF2B5EF4-FFF2-40B4-BE49-F238E27FC236}">
                <a16:creationId xmlns:a16="http://schemas.microsoft.com/office/drawing/2014/main" id="{116F7F4B-2735-59BA-B28A-A1E724AAC670}"/>
              </a:ext>
            </a:extLst>
          </p:cNvPr>
          <p:cNvSpPr txBox="1"/>
          <p:nvPr/>
        </p:nvSpPr>
        <p:spPr>
          <a:xfrm>
            <a:off x="7518766" y="5133920"/>
            <a:ext cx="232669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Op elkaars lip</a:t>
            </a:r>
          </a:p>
          <a:p>
            <a:pPr algn="l"/>
            <a:r>
              <a:rPr lang="nl-NL" dirty="0"/>
              <a:t>Steun en opvoedfiguur</a:t>
            </a:r>
          </a:p>
          <a:p>
            <a:pPr algn="l"/>
            <a:r>
              <a:rPr lang="nl-NL" dirty="0"/>
              <a:t>Klein netwerk</a:t>
            </a:r>
          </a:p>
          <a:p>
            <a:r>
              <a:rPr lang="nl-NL" dirty="0"/>
              <a:t>Álleen moeten doen</a:t>
            </a:r>
          </a:p>
          <a:p>
            <a:pPr algn="l"/>
            <a:endParaRPr lang="nl-NL" dirty="0" err="1"/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546B93C4-47AB-4AE3-5633-4401D1E6A4EE}"/>
              </a:ext>
            </a:extLst>
          </p:cNvPr>
          <p:cNvSpPr txBox="1"/>
          <p:nvPr/>
        </p:nvSpPr>
        <p:spPr>
          <a:xfrm>
            <a:off x="3069199" y="5155351"/>
            <a:ext cx="21158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Klachten zelf</a:t>
            </a:r>
          </a:p>
          <a:p>
            <a:pPr algn="l"/>
            <a:r>
              <a:rPr lang="nl-NL" dirty="0"/>
              <a:t>Klachten moeder</a:t>
            </a:r>
          </a:p>
          <a:p>
            <a:pPr algn="l"/>
            <a:r>
              <a:rPr lang="nl-NL" dirty="0"/>
              <a:t>Zorgen om </a:t>
            </a:r>
            <a:r>
              <a:rPr lang="nl-NL" dirty="0" err="1"/>
              <a:t>brussen</a:t>
            </a:r>
            <a:endParaRPr lang="nl-NL" dirty="0"/>
          </a:p>
          <a:p>
            <a:pPr algn="l"/>
            <a:endParaRPr lang="nl-NL" dirty="0"/>
          </a:p>
          <a:p>
            <a:pPr algn="l"/>
            <a:endParaRPr lang="nl-NL" dirty="0" err="1"/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565610ED-0B40-4411-9443-1D95BAC64A3C}"/>
              </a:ext>
            </a:extLst>
          </p:cNvPr>
          <p:cNvSpPr txBox="1"/>
          <p:nvPr/>
        </p:nvSpPr>
        <p:spPr>
          <a:xfrm>
            <a:off x="5251026" y="5134035"/>
            <a:ext cx="2115852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dirty="0"/>
              <a:t>Temperamentvol</a:t>
            </a:r>
          </a:p>
          <a:p>
            <a:pPr algn="l"/>
            <a:r>
              <a:rPr lang="nl-NL" dirty="0"/>
              <a:t>Schaamte</a:t>
            </a:r>
          </a:p>
          <a:p>
            <a:pPr algn="l"/>
            <a:r>
              <a:rPr lang="nl-NL" dirty="0"/>
              <a:t>Schuld</a:t>
            </a:r>
          </a:p>
          <a:p>
            <a:pPr algn="l"/>
            <a:endParaRPr lang="nl-NL" dirty="0"/>
          </a:p>
          <a:p>
            <a:pPr algn="l"/>
            <a:endParaRPr lang="nl-NL" dirty="0"/>
          </a:p>
        </p:txBody>
      </p:sp>
      <p:cxnSp>
        <p:nvCxnSpPr>
          <p:cNvPr id="31" name="Rechte verbindingslijn 30">
            <a:extLst>
              <a:ext uri="{FF2B5EF4-FFF2-40B4-BE49-F238E27FC236}">
                <a16:creationId xmlns:a16="http://schemas.microsoft.com/office/drawing/2014/main" id="{28B07CE6-008B-03FD-668C-0DAABBCDB9A1}"/>
              </a:ext>
            </a:extLst>
          </p:cNvPr>
          <p:cNvCxnSpPr/>
          <p:nvPr/>
        </p:nvCxnSpPr>
        <p:spPr>
          <a:xfrm>
            <a:off x="902599" y="3930187"/>
            <a:ext cx="9055593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al 32">
            <a:extLst>
              <a:ext uri="{FF2B5EF4-FFF2-40B4-BE49-F238E27FC236}">
                <a16:creationId xmlns:a16="http://schemas.microsoft.com/office/drawing/2014/main" id="{9C774193-23B9-2FAA-E190-04AF99A607ED}"/>
              </a:ext>
            </a:extLst>
          </p:cNvPr>
          <p:cNvSpPr/>
          <p:nvPr/>
        </p:nvSpPr>
        <p:spPr>
          <a:xfrm>
            <a:off x="2854403" y="4896146"/>
            <a:ext cx="2326692" cy="131186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 err="1"/>
          </a:p>
        </p:txBody>
      </p:sp>
    </p:spTree>
    <p:extLst>
      <p:ext uri="{BB962C8B-B14F-4D97-AF65-F5344CB8AC3E}">
        <p14:creationId xmlns:p14="http://schemas.microsoft.com/office/powerpoint/2010/main" val="1348410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ndacht voor eigen problematiek oud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Inhoud: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stell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Rapport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Ketenbreed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 leren; bevinding 5, te weinig hulp voor eigen problematiek ouders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oed voorbeeld: Academische Werkplaats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GEZIeN</a:t>
            </a: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oed voorbeeld: KINGS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ragen en discussie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64B641B7-FB49-9C61-7146-259F1FE1B9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6394" y="3708772"/>
            <a:ext cx="4145892" cy="2784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645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tekst&#10;&#10;Automatisch gegenereerde beschrijving">
            <a:extLst>
              <a:ext uri="{FF2B5EF4-FFF2-40B4-BE49-F238E27FC236}">
                <a16:creationId xmlns:a16="http://schemas.microsoft.com/office/drawing/2014/main" id="{03224646-BB65-46D6-97DC-116C80FD0E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id="{88D39C31-08CB-74A3-3A56-65312B4DDD19}"/>
              </a:ext>
            </a:extLst>
          </p:cNvPr>
          <p:cNvSpPr txBox="1">
            <a:spLocks/>
          </p:cNvSpPr>
          <p:nvPr/>
        </p:nvSpPr>
        <p:spPr>
          <a:xfrm rot="20156510">
            <a:off x="-457296" y="710182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6000" b="1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nl-NL" sz="6000" b="1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D VOORBEELD 2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9C0490D8-F9F9-400D-C08C-42FE66876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A03F7-38FC-4AE6-A6BB-415512E4C6A5}" type="slidenum">
              <a:rPr lang="nl-NL" smtClean="0"/>
              <a:t>20</a:t>
            </a:fld>
            <a:endParaRPr lang="nl-NL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F4A6A3C-09A0-61A0-CFCC-04C13C2409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4264838" y="1173191"/>
            <a:ext cx="7242799" cy="568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938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0619"/>
            <a:ext cx="10721196" cy="1325563"/>
          </a:xfrm>
        </p:spPr>
        <p:txBody>
          <a:bodyPr>
            <a:normAutofit/>
          </a:bodyPr>
          <a:lstStyle/>
          <a:p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GS</a:t>
            </a:r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21196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KINGS = Kind In Gezond Systeem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000" b="1" dirty="0">
                <a:latin typeface="Arial" panose="020B0604020202020204" pitchFamily="34" charset="0"/>
                <a:cs typeface="Arial" panose="020B0604020202020204" pitchFamily="34" charset="0"/>
              </a:rPr>
              <a:t>Doelgroep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ezinnen met:</a:t>
            </a:r>
            <a:b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Interpersoonlijk trauma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Van generatie op generatie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Mishandeling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Misbruik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Verwaarlozing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*	Emotie regulatie problemen staan op de voorgrond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08DC72CE-0260-9602-AD69-F732891FF2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984" y="-206151"/>
            <a:ext cx="2143125" cy="2143125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FBDB30C-1FF3-5A17-7CC7-BA664AA39F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31000"/>
                    </a14:imgEffect>
                    <a14:imgEffect>
                      <a14:brightnessContrast contrast="-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66873" y="2508250"/>
            <a:ext cx="2095500" cy="1181100"/>
          </a:xfrm>
          <a:prstGeom prst="rect">
            <a:avLst/>
          </a:prstGeom>
          <a:effectLst>
            <a:softEdge rad="228600"/>
          </a:effectLst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ACB1C925-5B2E-89CC-0470-D9110603DE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62949" y="2508250"/>
            <a:ext cx="2990850" cy="1238250"/>
          </a:xfrm>
          <a:prstGeom prst="rect">
            <a:avLst/>
          </a:prstGeom>
        </p:spPr>
      </p:pic>
      <p:sp>
        <p:nvSpPr>
          <p:cNvPr id="16" name="Pijl: omlaag 15">
            <a:extLst>
              <a:ext uri="{FF2B5EF4-FFF2-40B4-BE49-F238E27FC236}">
                <a16:creationId xmlns:a16="http://schemas.microsoft.com/office/drawing/2014/main" id="{31AD9DFC-4477-2A00-9418-4FAAFE84639B}"/>
              </a:ext>
            </a:extLst>
          </p:cNvPr>
          <p:cNvSpPr/>
          <p:nvPr/>
        </p:nvSpPr>
        <p:spPr>
          <a:xfrm>
            <a:off x="6665343" y="1483743"/>
            <a:ext cx="770627" cy="7943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5A31F077-D715-78C6-42D0-91A05A25AF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6247" y="2516220"/>
            <a:ext cx="1721105" cy="1173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9702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GS</a:t>
            </a:r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21196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Perspectief en veiligheid bieden.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Werken aan de hechtingsrelatie.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Trauma’s behandelen.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Dit alles met als doel dat het KIND weer in ontwikkeling komt!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youtube.com/watch?v=cEg0UJRB4VI</a:t>
            </a: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000" b="1" dirty="0">
                <a:latin typeface="Arial" panose="020B0604020202020204" pitchFamily="34" charset="0"/>
                <a:cs typeface="Arial" panose="020B0604020202020204" pitchFamily="34" charset="0"/>
              </a:rPr>
              <a:t>Droom: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een uithuisplaatsing zonder KINGS, er is geen ouder die niet het beste wil voor zijn kind!!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E148C198-F414-E796-899E-C10A49C338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1110" y="4345527"/>
            <a:ext cx="1106607" cy="833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65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14359DBD-B5F1-4738-BA36-FECE99C26C3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IE</a:t>
            </a: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B5F2649E-D81F-4285-8AA4-1A211E5757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BC0CE074-CBDE-B71C-8F4B-B36A552FF3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3313" y="1657104"/>
            <a:ext cx="6211019" cy="413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5575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2B42F0-67BE-5C40-1D6A-9F9E5384A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60CD484B-0804-2677-28B8-AB9482B46B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5185901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4">
            <a:extLst>
              <a:ext uri="{FF2B5EF4-FFF2-40B4-BE49-F238E27FC236}">
                <a16:creationId xmlns:a16="http://schemas.microsoft.com/office/drawing/2014/main" id="{3CA5BBD2-F968-7535-8D83-81506C6F72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133E875-986B-B15C-AFDE-966786295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CCF5034-D900-9E5D-8F2E-F33713438B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7188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nl-NL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ke aandacht besteden jullie aan ouderproblematiek tijdens de intakefase en verderop?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Mentimeter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: ga naar menti.com  // Code 69283678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Multiple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choice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: Wat doen jullie met eventuele problemen van ouders?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Indien (bijna) niks: waarom niet?</a:t>
            </a: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1026" name="Picture 2" descr="genogram | Psychologenpraktijk Gerie Hermans">
            <a:extLst>
              <a:ext uri="{FF2B5EF4-FFF2-40B4-BE49-F238E27FC236}">
                <a16:creationId xmlns:a16="http://schemas.microsoft.com/office/drawing/2014/main" id="{776DFBBB-263D-1250-B365-740AC99AC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792" y="3429000"/>
            <a:ext cx="5471839" cy="2701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6476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r>
              <a:rPr lang="nl-NL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de helft van de casuïstiek speelt eigen problematiek oud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Binnen V-GGZ heeft 70% van de cliënten kinderen, 60% daarvan ontwikkelt voor 25</a:t>
            </a:r>
            <a:r>
              <a:rPr lang="nl-NL" sz="20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 levensjaar psychiatrische problematiek.</a:t>
            </a:r>
          </a:p>
          <a:p>
            <a:pPr marL="0" indent="0">
              <a:buNone/>
            </a:pP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Ketenbreed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 leren: de helft van de ouders kampt met eigen problematiek!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Psychische problem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Relationele problem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Problemen in het functioneren op werk/ school en in vrije tijd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eel ingrijpende ervaringen meegemaakt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15A40AF2-A6E6-80C1-1781-F46D40DB7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0760" y="4108715"/>
            <a:ext cx="3848999" cy="274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224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arom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jgen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 het zo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eilijk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p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fel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Eigen problematiek soms lastig te herkennen en erkenn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Angst om als incompetente ouder gezien te word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Meemaken negatieve gebeurtenissen &gt; negatief effect motivatie en aangaan alliantie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Angst voor uithuisplaatsing of drang/dwang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92DD81F5-CC64-CE1B-0113-EB714B0D06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9374" y="4001293"/>
            <a:ext cx="3447599" cy="258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82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banden</a:t>
            </a:r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21196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Problemen bij ouders leiden tot problemen bij kinder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Psychische problematiek ouders &gt; risicofactor kindermishandeling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amenhang ACES ouders &gt; opvoedingsgedrag &gt; ontwikkeling kind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Moeite met regulatie emoties ouder &gt; moeite ondersteunen kind aanleren regulatie emoties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cheiding of problemen in bestaanszekerheid bemoeilijken de opvoedingssituatie</a:t>
            </a: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97A041B6-8DEB-3980-AC54-D9D1F00241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7487" y="4559300"/>
            <a:ext cx="3760578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327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n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wat is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dig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nl-NL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21196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Menti.com: open vraag naar goede voorbeelden….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		(code 69283678)</a:t>
            </a: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Maak je rol expliciet en waarom je naar dingen vraagt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eef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psycho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-educatie over de risico’s als problemen niet aangepakt word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Geloof in de plasticiteit van het brein: emotieregulatie bij ouders en kind kan ontwikkelen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Leg niet voortdurend de nadruk </a:t>
            </a:r>
            <a:r>
              <a:rPr lang="nl-NL" sz="2000">
                <a:latin typeface="Arial" panose="020B0604020202020204" pitchFamily="34" charset="0"/>
                <a:cs typeface="Arial" panose="020B0604020202020204" pitchFamily="34" charset="0"/>
              </a:rPr>
              <a:t>op bescherming</a:t>
            </a: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F4C6F680-D185-CB47-314C-A7B4929DB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3026" y="681037"/>
            <a:ext cx="2946370" cy="294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508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0ABE44-7EE8-4C8B-88FD-556F23060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721196" cy="1325563"/>
          </a:xfrm>
        </p:spPr>
        <p:txBody>
          <a:bodyPr>
            <a:normAutofit/>
          </a:bodyPr>
          <a:lstStyle/>
          <a:p>
            <a:pPr algn="ctr"/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nbevelingen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it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t rapport ‘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tenbreed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000" dirty="0" err="1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ren</a:t>
            </a:r>
            <a: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br>
              <a:rPr lang="en-US" sz="3000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000" b="1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 OUDERS ER VOOR HUN KINDEREN ZIJN!</a:t>
            </a:r>
            <a:endParaRPr lang="nl-NL" sz="3000" b="1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A171D26-2E3B-419B-A248-8859E4E457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000232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Doorbreek de negatieve cirkel: </a:t>
            </a:r>
          </a:p>
          <a:p>
            <a:pPr marL="0" indent="0">
              <a:buNone/>
            </a:pP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opvoeding onder druk door eigen problematiek ouders					</a:t>
            </a:r>
            <a:b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beoordeling op en van </a:t>
            </a:r>
            <a:r>
              <a:rPr lang="nl-NL" sz="2000" dirty="0" err="1">
                <a:latin typeface="Arial" panose="020B0604020202020204" pitchFamily="34" charset="0"/>
                <a:cs typeface="Arial" panose="020B0604020202020204" pitchFamily="34" charset="0"/>
              </a:rPr>
              <a:t>opvoederschap</a:t>
            </a: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stapelen opvoedmodules, eventueel bemoeienis van veiligheidsdomein</a:t>
            </a:r>
            <a:b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duurzaam effect jeugdhulp blijft uit!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 professionals….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 zorgaanbieders en branches….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 de gemeente……</a:t>
            </a:r>
          </a:p>
          <a:p>
            <a:r>
              <a:rPr lang="nl-NL" sz="2000" dirty="0">
                <a:latin typeface="Arial" panose="020B0604020202020204" pitchFamily="34" charset="0"/>
                <a:cs typeface="Arial" panose="020B0604020202020204" pitchFamily="34" charset="0"/>
              </a:rPr>
              <a:t>Voor opleiders………….</a:t>
            </a:r>
          </a:p>
          <a:p>
            <a:pPr marL="0" indent="0">
              <a:buNone/>
            </a:pPr>
            <a:endParaRPr lang="nl-NL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A1757733-1ABC-4EBC-BDE2-9DE67718C0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6575C7C-BD78-CC49-5C69-850F94A43F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3617328"/>
            <a:ext cx="5134905" cy="2875547"/>
          </a:xfrm>
          <a:prstGeom prst="rect">
            <a:avLst/>
          </a:prstGeom>
        </p:spPr>
      </p:pic>
      <p:sp>
        <p:nvSpPr>
          <p:cNvPr id="8" name="Pijl: gekromd links 7">
            <a:extLst>
              <a:ext uri="{FF2B5EF4-FFF2-40B4-BE49-F238E27FC236}">
                <a16:creationId xmlns:a16="http://schemas.microsoft.com/office/drawing/2014/main" id="{C4AD2EFD-2C9B-25C1-2187-19FD0B7D13D8}"/>
              </a:ext>
            </a:extLst>
          </p:cNvPr>
          <p:cNvSpPr/>
          <p:nvPr/>
        </p:nvSpPr>
        <p:spPr>
          <a:xfrm>
            <a:off x="7362972" y="2360708"/>
            <a:ext cx="365760" cy="31699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1" name="Pijl: gekromd links 10">
            <a:extLst>
              <a:ext uri="{FF2B5EF4-FFF2-40B4-BE49-F238E27FC236}">
                <a16:creationId xmlns:a16="http://schemas.microsoft.com/office/drawing/2014/main" id="{857B3C01-1510-12B2-94C2-290EC6984558}"/>
              </a:ext>
            </a:extLst>
          </p:cNvPr>
          <p:cNvSpPr/>
          <p:nvPr/>
        </p:nvSpPr>
        <p:spPr>
          <a:xfrm>
            <a:off x="9034272" y="2687805"/>
            <a:ext cx="365760" cy="316992"/>
          </a:xfrm>
          <a:prstGeom prst="curvedLeftArrow">
            <a:avLst>
              <a:gd name="adj1" fmla="val 25000"/>
              <a:gd name="adj2" fmla="val 46145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Pijl: gekromd links 11">
            <a:extLst>
              <a:ext uri="{FF2B5EF4-FFF2-40B4-BE49-F238E27FC236}">
                <a16:creationId xmlns:a16="http://schemas.microsoft.com/office/drawing/2014/main" id="{C2C1B1ED-F4D5-26D4-0D4A-EDEFCBBBE174}"/>
              </a:ext>
            </a:extLst>
          </p:cNvPr>
          <p:cNvSpPr/>
          <p:nvPr/>
        </p:nvSpPr>
        <p:spPr>
          <a:xfrm>
            <a:off x="9217152" y="2889589"/>
            <a:ext cx="365760" cy="298825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16" name="Pijl: gekromd rechts 15">
            <a:extLst>
              <a:ext uri="{FF2B5EF4-FFF2-40B4-BE49-F238E27FC236}">
                <a16:creationId xmlns:a16="http://schemas.microsoft.com/office/drawing/2014/main" id="{3EE42527-E083-C059-897D-E4A384800061}"/>
              </a:ext>
            </a:extLst>
          </p:cNvPr>
          <p:cNvSpPr/>
          <p:nvPr/>
        </p:nvSpPr>
        <p:spPr>
          <a:xfrm>
            <a:off x="353568" y="2360708"/>
            <a:ext cx="484632" cy="827706"/>
          </a:xfrm>
          <a:custGeom>
            <a:avLst/>
            <a:gdLst>
              <a:gd name="connsiteX0" fmla="*/ 0 w 365760"/>
              <a:gd name="connsiteY0" fmla="*/ 350844 h 838848"/>
              <a:gd name="connsiteX1" fmla="*/ 274320 w 365760"/>
              <a:gd name="connsiteY1" fmla="*/ 690547 h 838848"/>
              <a:gd name="connsiteX2" fmla="*/ 274320 w 365760"/>
              <a:gd name="connsiteY2" fmla="*/ 644827 h 838848"/>
              <a:gd name="connsiteX3" fmla="*/ 365760 w 365760"/>
              <a:gd name="connsiteY3" fmla="*/ 747408 h 838848"/>
              <a:gd name="connsiteX4" fmla="*/ 274320 w 365760"/>
              <a:gd name="connsiteY4" fmla="*/ 827707 h 838848"/>
              <a:gd name="connsiteX5" fmla="*/ 274320 w 365760"/>
              <a:gd name="connsiteY5" fmla="*/ 781987 h 838848"/>
              <a:gd name="connsiteX6" fmla="*/ 0 w 365760"/>
              <a:gd name="connsiteY6" fmla="*/ 442284 h 838848"/>
              <a:gd name="connsiteX7" fmla="*/ 0 w 365760"/>
              <a:gd name="connsiteY7" fmla="*/ 350844 h 838848"/>
              <a:gd name="connsiteX0" fmla="*/ 365760 w 365760"/>
              <a:gd name="connsiteY0" fmla="*/ 91440 h 838848"/>
              <a:gd name="connsiteX1" fmla="*/ 3119 w 365760"/>
              <a:gd name="connsiteY1" fmla="*/ 396564 h 838848"/>
              <a:gd name="connsiteX2" fmla="*/ 96496 w 365760"/>
              <a:gd name="connsiteY2" fmla="*/ 113396 h 838848"/>
              <a:gd name="connsiteX3" fmla="*/ 365760 w 365760"/>
              <a:gd name="connsiteY3" fmla="*/ 0 h 838848"/>
              <a:gd name="connsiteX4" fmla="*/ 365760 w 365760"/>
              <a:gd name="connsiteY4" fmla="*/ 91440 h 838848"/>
              <a:gd name="connsiteX0" fmla="*/ 0 w 365760"/>
              <a:gd name="connsiteY0" fmla="*/ 350844 h 838848"/>
              <a:gd name="connsiteX1" fmla="*/ 274320 w 365760"/>
              <a:gd name="connsiteY1" fmla="*/ 690547 h 838848"/>
              <a:gd name="connsiteX2" fmla="*/ 274320 w 365760"/>
              <a:gd name="connsiteY2" fmla="*/ 644827 h 838848"/>
              <a:gd name="connsiteX3" fmla="*/ 365760 w 365760"/>
              <a:gd name="connsiteY3" fmla="*/ 747408 h 838848"/>
              <a:gd name="connsiteX4" fmla="*/ 274320 w 365760"/>
              <a:gd name="connsiteY4" fmla="*/ 827707 h 838848"/>
              <a:gd name="connsiteX5" fmla="*/ 274320 w 365760"/>
              <a:gd name="connsiteY5" fmla="*/ 781987 h 838848"/>
              <a:gd name="connsiteX6" fmla="*/ 0 w 365760"/>
              <a:gd name="connsiteY6" fmla="*/ 442284 h 838848"/>
              <a:gd name="connsiteX7" fmla="*/ 0 w 365760"/>
              <a:gd name="connsiteY7" fmla="*/ 350844 h 838848"/>
              <a:gd name="connsiteX8" fmla="*/ 365760 w 365760"/>
              <a:gd name="connsiteY8" fmla="*/ 0 h 838848"/>
              <a:gd name="connsiteX9" fmla="*/ 365760 w 365760"/>
              <a:gd name="connsiteY9" fmla="*/ 91440 h 838848"/>
              <a:gd name="connsiteX10" fmla="*/ 3119 w 365760"/>
              <a:gd name="connsiteY10" fmla="*/ 396564 h 838848"/>
              <a:gd name="connsiteX0" fmla="*/ 2 w 365762"/>
              <a:gd name="connsiteY0" fmla="*/ 350844 h 827707"/>
              <a:gd name="connsiteX1" fmla="*/ 274322 w 365762"/>
              <a:gd name="connsiteY1" fmla="*/ 690547 h 827707"/>
              <a:gd name="connsiteX2" fmla="*/ 274322 w 365762"/>
              <a:gd name="connsiteY2" fmla="*/ 644827 h 827707"/>
              <a:gd name="connsiteX3" fmla="*/ 365762 w 365762"/>
              <a:gd name="connsiteY3" fmla="*/ 747408 h 827707"/>
              <a:gd name="connsiteX4" fmla="*/ 274322 w 365762"/>
              <a:gd name="connsiteY4" fmla="*/ 827707 h 827707"/>
              <a:gd name="connsiteX5" fmla="*/ 274322 w 365762"/>
              <a:gd name="connsiteY5" fmla="*/ 781987 h 827707"/>
              <a:gd name="connsiteX6" fmla="*/ 2 w 365762"/>
              <a:gd name="connsiteY6" fmla="*/ 442284 h 827707"/>
              <a:gd name="connsiteX7" fmla="*/ 2 w 365762"/>
              <a:gd name="connsiteY7" fmla="*/ 350844 h 827707"/>
              <a:gd name="connsiteX0" fmla="*/ 365762 w 365762"/>
              <a:gd name="connsiteY0" fmla="*/ 91440 h 827707"/>
              <a:gd name="connsiteX1" fmla="*/ 3121 w 365762"/>
              <a:gd name="connsiteY1" fmla="*/ 396564 h 827707"/>
              <a:gd name="connsiteX2" fmla="*/ 96498 w 365762"/>
              <a:gd name="connsiteY2" fmla="*/ 113396 h 827707"/>
              <a:gd name="connsiteX3" fmla="*/ 365762 w 365762"/>
              <a:gd name="connsiteY3" fmla="*/ 0 h 827707"/>
              <a:gd name="connsiteX4" fmla="*/ 365762 w 365762"/>
              <a:gd name="connsiteY4" fmla="*/ 91440 h 827707"/>
              <a:gd name="connsiteX0" fmla="*/ 2 w 365762"/>
              <a:gd name="connsiteY0" fmla="*/ 350844 h 827707"/>
              <a:gd name="connsiteX1" fmla="*/ 274322 w 365762"/>
              <a:gd name="connsiteY1" fmla="*/ 690547 h 827707"/>
              <a:gd name="connsiteX2" fmla="*/ 274322 w 365762"/>
              <a:gd name="connsiteY2" fmla="*/ 644827 h 827707"/>
              <a:gd name="connsiteX3" fmla="*/ 365762 w 365762"/>
              <a:gd name="connsiteY3" fmla="*/ 747408 h 827707"/>
              <a:gd name="connsiteX4" fmla="*/ 274322 w 365762"/>
              <a:gd name="connsiteY4" fmla="*/ 827707 h 827707"/>
              <a:gd name="connsiteX5" fmla="*/ 274322 w 365762"/>
              <a:gd name="connsiteY5" fmla="*/ 781987 h 827707"/>
              <a:gd name="connsiteX6" fmla="*/ 2 w 365762"/>
              <a:gd name="connsiteY6" fmla="*/ 442284 h 827707"/>
              <a:gd name="connsiteX7" fmla="*/ 2 w 365762"/>
              <a:gd name="connsiteY7" fmla="*/ 350844 h 827707"/>
              <a:gd name="connsiteX8" fmla="*/ 365762 w 365762"/>
              <a:gd name="connsiteY8" fmla="*/ 0 h 827707"/>
              <a:gd name="connsiteX9" fmla="*/ 365762 w 365762"/>
              <a:gd name="connsiteY9" fmla="*/ 91440 h 827707"/>
              <a:gd name="connsiteX10" fmla="*/ 3121 w 365762"/>
              <a:gd name="connsiteY10" fmla="*/ 396564 h 82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5762" h="827707" stroke="0" extrusionOk="0">
                <a:moveTo>
                  <a:pt x="2" y="350844"/>
                </a:moveTo>
                <a:cubicBezTo>
                  <a:pt x="2" y="510828"/>
                  <a:pt x="112832" y="650551"/>
                  <a:pt x="274322" y="690547"/>
                </a:cubicBezTo>
                <a:lnTo>
                  <a:pt x="274322" y="644827"/>
                </a:lnTo>
                <a:lnTo>
                  <a:pt x="365762" y="747408"/>
                </a:lnTo>
                <a:lnTo>
                  <a:pt x="274322" y="827707"/>
                </a:lnTo>
                <a:lnTo>
                  <a:pt x="274322" y="781987"/>
                </a:lnTo>
                <a:cubicBezTo>
                  <a:pt x="112832" y="741991"/>
                  <a:pt x="2" y="602268"/>
                  <a:pt x="2" y="442284"/>
                </a:cubicBezTo>
                <a:lnTo>
                  <a:pt x="2" y="350844"/>
                </a:lnTo>
                <a:close/>
              </a:path>
              <a:path w="365762" h="827707" fill="darkenLess" stroke="0" extrusionOk="0">
                <a:moveTo>
                  <a:pt x="365762" y="91440"/>
                </a:moveTo>
                <a:cubicBezTo>
                  <a:pt x="182182" y="91440"/>
                  <a:pt x="27044" y="221973"/>
                  <a:pt x="3121" y="396564"/>
                </a:cubicBezTo>
                <a:cubicBezTo>
                  <a:pt x="-10992" y="293569"/>
                  <a:pt x="23204" y="189871"/>
                  <a:pt x="96498" y="113396"/>
                </a:cubicBezTo>
                <a:cubicBezTo>
                  <a:pt x="165761" y="41128"/>
                  <a:pt x="263421" y="0"/>
                  <a:pt x="365762" y="0"/>
                </a:cubicBezTo>
                <a:lnTo>
                  <a:pt x="365762" y="91440"/>
                </a:lnTo>
                <a:close/>
              </a:path>
              <a:path w="365762" h="827707" fill="none" extrusionOk="0">
                <a:moveTo>
                  <a:pt x="2" y="350844"/>
                </a:moveTo>
                <a:cubicBezTo>
                  <a:pt x="2" y="510828"/>
                  <a:pt x="112832" y="650551"/>
                  <a:pt x="274322" y="690547"/>
                </a:cubicBezTo>
                <a:lnTo>
                  <a:pt x="274322" y="644827"/>
                </a:lnTo>
                <a:lnTo>
                  <a:pt x="365762" y="747408"/>
                </a:lnTo>
                <a:lnTo>
                  <a:pt x="274322" y="827707"/>
                </a:lnTo>
                <a:lnTo>
                  <a:pt x="274322" y="781987"/>
                </a:lnTo>
                <a:cubicBezTo>
                  <a:pt x="112832" y="741991"/>
                  <a:pt x="2" y="602268"/>
                  <a:pt x="2" y="442284"/>
                </a:cubicBezTo>
                <a:lnTo>
                  <a:pt x="2" y="350844"/>
                </a:lnTo>
                <a:cubicBezTo>
                  <a:pt x="2" y="157078"/>
                  <a:pt x="163758" y="0"/>
                  <a:pt x="365762" y="0"/>
                </a:cubicBezTo>
                <a:lnTo>
                  <a:pt x="365762" y="91440"/>
                </a:lnTo>
                <a:cubicBezTo>
                  <a:pt x="182182" y="91440"/>
                  <a:pt x="27044" y="221973"/>
                  <a:pt x="3121" y="396564"/>
                </a:cubicBezTo>
              </a:path>
            </a:pathLst>
          </a:custGeom>
          <a:scene3d>
            <a:camera prst="orthographicFront">
              <a:rot lat="108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697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tekst&#10;&#10;Automatisch gegenereerde beschrijving">
            <a:extLst>
              <a:ext uri="{FF2B5EF4-FFF2-40B4-BE49-F238E27FC236}">
                <a16:creationId xmlns:a16="http://schemas.microsoft.com/office/drawing/2014/main" id="{03224646-BB65-46D6-97DC-116C80FD0E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102" y="6202363"/>
            <a:ext cx="1223395" cy="428048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id="{88D39C31-08CB-74A3-3A56-65312B4DDD19}"/>
              </a:ext>
            </a:extLst>
          </p:cNvPr>
          <p:cNvSpPr txBox="1">
            <a:spLocks/>
          </p:cNvSpPr>
          <p:nvPr/>
        </p:nvSpPr>
        <p:spPr>
          <a:xfrm>
            <a:off x="0" y="-290482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00" dirty="0">
              <a:solidFill>
                <a:srgbClr val="1EBC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6000" b="1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nl-NL" sz="6000" b="1" dirty="0">
                <a:solidFill>
                  <a:srgbClr val="1EB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ED VOORBEELD 1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9C0490D8-F9F9-400D-C08C-42FE66876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A03F7-38FC-4AE6-A6BB-415512E4C6A5}" type="slidenum">
              <a:rPr lang="nl-NL" smtClean="0"/>
              <a:t>9</a:t>
            </a:fld>
            <a:endParaRPr lang="nl-NL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F4A6A3C-09A0-61A0-CFCC-04C13C2409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2449901" y="659897"/>
            <a:ext cx="7487729" cy="619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117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angepast ontwerp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5</TotalTime>
  <Words>1433</Words>
  <Application>Microsoft Office PowerPoint</Application>
  <PresentationFormat>Breedbeeld</PresentationFormat>
  <Paragraphs>228</Paragraphs>
  <Slides>25</Slides>
  <Notes>5</Notes>
  <HiddenSlides>2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5</vt:i4>
      </vt:variant>
    </vt:vector>
  </HeadingPairs>
  <TitlesOfParts>
    <vt:vector size="34" baseType="lpstr">
      <vt:lpstr>Arial</vt:lpstr>
      <vt:lpstr>Calibri</vt:lpstr>
      <vt:lpstr>Calibri Light</vt:lpstr>
      <vt:lpstr>IBM Plex Sans</vt:lpstr>
      <vt:lpstr>IBM Plex Sans SemiBold</vt:lpstr>
      <vt:lpstr>Kantoorthema</vt:lpstr>
      <vt:lpstr>Aangepast ontwerp</vt:lpstr>
      <vt:lpstr>1_Kantoorthema</vt:lpstr>
      <vt:lpstr>think-cell Slide</vt:lpstr>
      <vt:lpstr>PowerPoint-presentatie</vt:lpstr>
      <vt:lpstr>Aandacht voor eigen problematiek ouders</vt:lpstr>
      <vt:lpstr>Welke aandacht besteden jullie aan ouderproblematiek tijdens de intakefase en verderop?</vt:lpstr>
      <vt:lpstr>In de helft van de casuïstiek speelt eigen problematiek ouders</vt:lpstr>
      <vt:lpstr>Waarom krijgen we het zo moeilijk op tafel?</vt:lpstr>
      <vt:lpstr>Verbanden</vt:lpstr>
      <vt:lpstr>Wat doen we wel en wat is nodig?</vt:lpstr>
      <vt:lpstr>Aanbevelingen uit het rapport ‘Ketenbreed leren’ HELP OUDERS ER VOOR HUN KINDEREN ZIJN!</vt:lpstr>
      <vt:lpstr>PowerPoint-presentatie</vt:lpstr>
      <vt:lpstr>Academische werkplaats GEZIeN gezinsgericht werken aan mentale gezondheid </vt:lpstr>
      <vt:lpstr>1. Los het op maar dan is het niet opgelost</vt:lpstr>
      <vt:lpstr>Samenwerking</vt:lpstr>
      <vt:lpstr>Casus</vt:lpstr>
      <vt:lpstr>Kenmerken van gezin</vt:lpstr>
      <vt:lpstr>Casus – inventariseren en verhelderen</vt:lpstr>
      <vt:lpstr>2. Geen one-size fits all</vt:lpstr>
      <vt:lpstr>Casus – vertragen, verdragen en prioriteren</vt:lpstr>
      <vt:lpstr>3. Samen doen we het anders</vt:lpstr>
      <vt:lpstr>Casus – prioriteren en hulp bieden</vt:lpstr>
      <vt:lpstr>PowerPoint-presentatie</vt:lpstr>
      <vt:lpstr>KINGS</vt:lpstr>
      <vt:lpstr>KINGS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Wim van der Zwaag</dc:creator>
  <cp:lastModifiedBy>Breur, Jalyssa</cp:lastModifiedBy>
  <cp:revision>13</cp:revision>
  <dcterms:created xsi:type="dcterms:W3CDTF">2023-05-31T17:40:38Z</dcterms:created>
  <dcterms:modified xsi:type="dcterms:W3CDTF">2023-07-04T14:39:13Z</dcterms:modified>
</cp:coreProperties>
</file>